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diagrams/data1.xml" ContentType="application/vnd.openxmlformats-officedocument.drawingml.diagramData+xml"/>
  <Override PartName="/ppt/diagrams/data9.xml" ContentType="application/vnd.openxmlformats-officedocument.drawingml.diagramData+xml"/>
  <Override PartName="/ppt/diagrams/data8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ata7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9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3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4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5.xml" ContentType="application/vnd.openxmlformats-officedocument.presentationml.slideLayout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1.xml" ContentType="application/vnd.openxmlformats-officedocument.drawingml.diagramColors+xml"/>
  <Override PartName="/ppt/diagrams/colors2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drawing1.xml" ContentType="application/vnd.ms-office.drawingml.diagramDrawing+xml"/>
  <Override PartName="/ppt/diagrams/drawing2.xml" ContentType="application/vnd.ms-office.drawingml.diagramDrawing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Masters/notesMaster1.xml" ContentType="application/vnd.openxmlformats-officedocument.presentationml.notesMaster+xml"/>
  <Override PartName="/ppt/diagrams/quickStyle9.xml" ContentType="application/vnd.openxmlformats-officedocument.drawingml.diagramStyle+xml"/>
  <Override PartName="/ppt/theme/theme2.xml" ContentType="application/vnd.openxmlformats-officedocument.theme+xml"/>
  <Override PartName="/ppt/theme/theme1.xml" ContentType="application/vnd.openxmlformats-officedocument.theme+xml"/>
  <Override PartName="/ppt/diagrams/quickStyle5.xml" ContentType="application/vnd.openxmlformats-officedocument.drawingml.diagramStyle+xml"/>
  <Override PartName="/ppt/diagrams/layout5.xml" ContentType="application/vnd.openxmlformats-officedocument.drawingml.diagramLayout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layout9.xml" ContentType="application/vnd.openxmlformats-officedocument.drawingml.diagramLayout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4.xml" ContentType="application/vnd.ms-office.drawingml.diagramDrawing+xml"/>
  <Override PartName="/ppt/diagrams/colors4.xml" ContentType="application/vnd.openxmlformats-officedocument.drawingml.diagramColors+xml"/>
  <Override PartName="/ppt/diagrams/quickStyle4.xml" ContentType="application/vnd.openxmlformats-officedocument.drawingml.diagramStyle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layout4.xml" ContentType="application/vnd.openxmlformats-officedocument.drawingml.diagramLayout+xml"/>
  <Override PartName="/ppt/diagrams/drawing6.xml" ContentType="application/vnd.ms-office.drawingml.diagramDrawing+xml"/>
  <Override PartName="/ppt/diagrams/colors8.xml" ContentType="application/vnd.openxmlformats-officedocument.drawingml.diagramColors+xml"/>
  <Override PartName="/ppt/diagrams/quickStyle8.xml" ContentType="application/vnd.openxmlformats-officedocument.drawingml.diagramStyle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layout8.xml" ContentType="application/vnd.openxmlformats-officedocument.drawingml.diagramLayout+xml"/>
  <Override PartName="/ppt/diagrams/drawing7.xml" ContentType="application/vnd.ms-office.drawingml.diagramDrawing+xml"/>
  <Override PartName="/ppt/diagrams/layout7.xml" ContentType="application/vnd.openxmlformats-officedocument.drawingml.diagramLayout+xml"/>
  <Override PartName="/ppt/diagrams/drawing8.xml" ContentType="application/vnd.ms-office.drawingml.diagramDrawing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sldIdLst>
    <p:sldId id="345" r:id="rId2"/>
    <p:sldId id="258" r:id="rId3"/>
    <p:sldId id="349" r:id="rId4"/>
    <p:sldId id="380" r:id="rId5"/>
    <p:sldId id="379" r:id="rId6"/>
    <p:sldId id="352" r:id="rId7"/>
    <p:sldId id="347" r:id="rId8"/>
    <p:sldId id="354" r:id="rId9"/>
    <p:sldId id="356" r:id="rId10"/>
    <p:sldId id="357" r:id="rId11"/>
    <p:sldId id="362" r:id="rId12"/>
    <p:sldId id="358" r:id="rId13"/>
    <p:sldId id="360" r:id="rId14"/>
    <p:sldId id="361" r:id="rId15"/>
    <p:sldId id="359" r:id="rId16"/>
    <p:sldId id="363" r:id="rId17"/>
    <p:sldId id="372" r:id="rId18"/>
    <p:sldId id="367" r:id="rId19"/>
    <p:sldId id="368" r:id="rId20"/>
    <p:sldId id="371" r:id="rId21"/>
    <p:sldId id="373" r:id="rId22"/>
    <p:sldId id="374" r:id="rId23"/>
  </p:sldIdLst>
  <p:sldSz cx="9144000" cy="6858000" type="screen4x3"/>
  <p:notesSz cx="7010400" cy="9236075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4F04498-F85A-4CEC-96D5-E808FBEA670B}">
          <p14:sldIdLst>
            <p14:sldId id="345"/>
            <p14:sldId id="258"/>
            <p14:sldId id="349"/>
            <p14:sldId id="380"/>
            <p14:sldId id="379"/>
            <p14:sldId id="352"/>
            <p14:sldId id="347"/>
            <p14:sldId id="354"/>
            <p14:sldId id="356"/>
            <p14:sldId id="357"/>
            <p14:sldId id="362"/>
            <p14:sldId id="358"/>
            <p14:sldId id="360"/>
            <p14:sldId id="361"/>
            <p14:sldId id="359"/>
            <p14:sldId id="363"/>
            <p14:sldId id="372"/>
            <p14:sldId id="367"/>
            <p14:sldId id="368"/>
            <p14:sldId id="371"/>
            <p14:sldId id="373"/>
            <p14:sldId id="374"/>
          </p14:sldIdLst>
        </p14:section>
        <p14:section name="Untitled Section" id="{FFFEE47B-7761-40C3-982E-993C5EF89AEA}">
          <p14:sldIdLst/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5700"/>
    <a:srgbClr val="25629F"/>
    <a:srgbClr val="042A45"/>
    <a:srgbClr val="14385C"/>
    <a:srgbClr val="D27D00"/>
    <a:srgbClr val="899BAD"/>
    <a:srgbClr val="E6E6E6"/>
    <a:srgbClr val="CC7A00"/>
    <a:srgbClr val="042A43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62" autoAdjust="0"/>
    <p:restoredTop sz="91188" autoAdjust="0"/>
  </p:normalViewPr>
  <p:slideViewPr>
    <p:cSldViewPr showGuides="1">
      <p:cViewPr>
        <p:scale>
          <a:sx n="60" d="100"/>
          <a:sy n="60" d="100"/>
        </p:scale>
        <p:origin x="-1708" y="-140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95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image" Target="../media/image11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image" Target="../media/image11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C59D06-DDD5-4490-BC8F-7BA6179442E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A3F1BEB-F91F-48A8-AF32-BBEF456529BA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en-US" dirty="0" smtClean="0"/>
            <a:t>1</a:t>
          </a:r>
          <a:endParaRPr lang="en-US" dirty="0"/>
        </a:p>
      </dgm:t>
    </dgm:pt>
    <dgm:pt modelId="{D732A1EA-CA34-4F84-B7FE-D87A5D234EAC}" type="parTrans" cxnId="{D199A43C-D5E5-4A7D-BBE5-D4C0A6C27331}">
      <dgm:prSet/>
      <dgm:spPr/>
      <dgm:t>
        <a:bodyPr/>
        <a:lstStyle/>
        <a:p>
          <a:endParaRPr lang="en-US"/>
        </a:p>
      </dgm:t>
    </dgm:pt>
    <dgm:pt modelId="{1FADD5B5-1224-4EE9-A2D0-F0A5E770A61E}" type="sibTrans" cxnId="{D199A43C-D5E5-4A7D-BBE5-D4C0A6C27331}">
      <dgm:prSet/>
      <dgm:spPr/>
      <dgm:t>
        <a:bodyPr/>
        <a:lstStyle/>
        <a:p>
          <a:endParaRPr lang="en-US"/>
        </a:p>
      </dgm:t>
    </dgm:pt>
    <dgm:pt modelId="{5B68BCDA-C3F2-439A-B761-8914BB0F664D}">
      <dgm:prSet phldrT="[Text]"/>
      <dgm:spPr/>
      <dgm:t>
        <a:bodyPr/>
        <a:lstStyle/>
        <a:p>
          <a:r>
            <a:rPr lang="en-US" dirty="0" smtClean="0"/>
            <a:t>Characteristics</a:t>
          </a:r>
          <a:endParaRPr lang="en-US" dirty="0"/>
        </a:p>
      </dgm:t>
    </dgm:pt>
    <dgm:pt modelId="{70620ACF-5745-4C04-9336-39405A575F0F}" type="parTrans" cxnId="{5D1E69DD-A91A-41D4-9797-029CAB69119D}">
      <dgm:prSet/>
      <dgm:spPr/>
      <dgm:t>
        <a:bodyPr/>
        <a:lstStyle/>
        <a:p>
          <a:endParaRPr lang="en-US"/>
        </a:p>
      </dgm:t>
    </dgm:pt>
    <dgm:pt modelId="{A71CEBE1-9337-4BE7-BB79-264007723E9D}" type="sibTrans" cxnId="{5D1E69DD-A91A-41D4-9797-029CAB69119D}">
      <dgm:prSet/>
      <dgm:spPr/>
      <dgm:t>
        <a:bodyPr/>
        <a:lstStyle/>
        <a:p>
          <a:endParaRPr lang="en-US"/>
        </a:p>
      </dgm:t>
    </dgm:pt>
    <dgm:pt modelId="{1B32B52C-352F-43C2-AE22-151DC1704089}">
      <dgm:prSet phldrT="[Text]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2</a:t>
          </a:r>
          <a:endParaRPr lang="en-US" dirty="0"/>
        </a:p>
      </dgm:t>
    </dgm:pt>
    <dgm:pt modelId="{B70FA99F-DA35-439F-BC72-D7C24DD3CD6C}" type="parTrans" cxnId="{F3D9BDF8-2BA6-481E-9BE1-FA41ACE899B6}">
      <dgm:prSet/>
      <dgm:spPr/>
      <dgm:t>
        <a:bodyPr/>
        <a:lstStyle/>
        <a:p>
          <a:endParaRPr lang="en-US"/>
        </a:p>
      </dgm:t>
    </dgm:pt>
    <dgm:pt modelId="{DB27616A-B701-43A5-BB84-BA5CF5D7BAA4}" type="sibTrans" cxnId="{F3D9BDF8-2BA6-481E-9BE1-FA41ACE899B6}">
      <dgm:prSet/>
      <dgm:spPr/>
      <dgm:t>
        <a:bodyPr/>
        <a:lstStyle/>
        <a:p>
          <a:endParaRPr lang="en-US"/>
        </a:p>
      </dgm:t>
    </dgm:pt>
    <dgm:pt modelId="{1B982B0F-AAA9-45A6-9377-5C355A6E7E50}">
      <dgm:prSet phldrT="[Text]"/>
      <dgm:spPr/>
      <dgm:t>
        <a:bodyPr/>
        <a:lstStyle/>
        <a:p>
          <a:r>
            <a:rPr lang="en-US" dirty="0" smtClean="0"/>
            <a:t>Values &amp; Workplace</a:t>
          </a:r>
          <a:endParaRPr lang="en-US" dirty="0"/>
        </a:p>
      </dgm:t>
    </dgm:pt>
    <dgm:pt modelId="{F0AE2DEC-ECB3-4DF9-8B97-91F26E3C4654}" type="parTrans" cxnId="{7C650078-AD71-4195-A216-95B5F4398934}">
      <dgm:prSet/>
      <dgm:spPr/>
      <dgm:t>
        <a:bodyPr/>
        <a:lstStyle/>
        <a:p>
          <a:endParaRPr lang="en-US"/>
        </a:p>
      </dgm:t>
    </dgm:pt>
    <dgm:pt modelId="{28EBA32D-E8C6-4240-B73F-FC6A461BF1F0}" type="sibTrans" cxnId="{7C650078-AD71-4195-A216-95B5F4398934}">
      <dgm:prSet/>
      <dgm:spPr/>
      <dgm:t>
        <a:bodyPr/>
        <a:lstStyle/>
        <a:p>
          <a:endParaRPr lang="en-US"/>
        </a:p>
      </dgm:t>
    </dgm:pt>
    <dgm:pt modelId="{12BE0647-8F01-41C7-BE4E-240D14D7D393}">
      <dgm:prSet phldrT="[Text]"/>
      <dgm:spPr/>
      <dgm:t>
        <a:bodyPr/>
        <a:lstStyle/>
        <a:p>
          <a:r>
            <a:rPr lang="en-US" dirty="0" smtClean="0"/>
            <a:t>3</a:t>
          </a:r>
          <a:endParaRPr lang="en-US" dirty="0"/>
        </a:p>
      </dgm:t>
    </dgm:pt>
    <dgm:pt modelId="{94CB0C71-1636-439C-9849-8F95E96BC883}" type="parTrans" cxnId="{91825272-C915-44D2-AD16-03BB0E34295A}">
      <dgm:prSet/>
      <dgm:spPr/>
      <dgm:t>
        <a:bodyPr/>
        <a:lstStyle/>
        <a:p>
          <a:endParaRPr lang="en-US"/>
        </a:p>
      </dgm:t>
    </dgm:pt>
    <dgm:pt modelId="{08EB7702-D1B6-4E85-AC45-BA72828A843F}" type="sibTrans" cxnId="{91825272-C915-44D2-AD16-03BB0E34295A}">
      <dgm:prSet/>
      <dgm:spPr/>
      <dgm:t>
        <a:bodyPr/>
        <a:lstStyle/>
        <a:p>
          <a:endParaRPr lang="en-US"/>
        </a:p>
      </dgm:t>
    </dgm:pt>
    <dgm:pt modelId="{A92B3CAE-F197-43DA-BD27-5661729DE60A}">
      <dgm:prSet phldrT="[Text]"/>
      <dgm:spPr/>
      <dgm:t>
        <a:bodyPr/>
        <a:lstStyle/>
        <a:p>
          <a:r>
            <a:rPr lang="en-US" dirty="0" smtClean="0"/>
            <a:t>Development Implications</a:t>
          </a:r>
          <a:endParaRPr lang="en-US" dirty="0"/>
        </a:p>
      </dgm:t>
    </dgm:pt>
    <dgm:pt modelId="{3C6D7FEA-950D-4E94-B67D-AFC082224F7D}" type="parTrans" cxnId="{0D6FB5BC-2307-4D52-A358-92FF1C3816D4}">
      <dgm:prSet/>
      <dgm:spPr/>
      <dgm:t>
        <a:bodyPr/>
        <a:lstStyle/>
        <a:p>
          <a:endParaRPr lang="en-US"/>
        </a:p>
      </dgm:t>
    </dgm:pt>
    <dgm:pt modelId="{0A0A35C4-415B-4DBA-9609-A6C05306B762}" type="sibTrans" cxnId="{0D6FB5BC-2307-4D52-A358-92FF1C3816D4}">
      <dgm:prSet/>
      <dgm:spPr/>
      <dgm:t>
        <a:bodyPr/>
        <a:lstStyle/>
        <a:p>
          <a:endParaRPr lang="en-US"/>
        </a:p>
      </dgm:t>
    </dgm:pt>
    <dgm:pt modelId="{6CB6247F-A26D-47D9-8578-A38772BD39A5}" type="pres">
      <dgm:prSet presAssocID="{5CC59D06-DDD5-4490-BC8F-7BA6179442E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8D83A55-0435-4CAA-9566-C56C411EE602}" type="pres">
      <dgm:prSet presAssocID="{9A3F1BEB-F91F-48A8-AF32-BBEF456529BA}" presName="composite" presStyleCnt="0"/>
      <dgm:spPr/>
    </dgm:pt>
    <dgm:pt modelId="{1A0ADF67-229D-4FEF-BD29-C0EC68C0F2CE}" type="pres">
      <dgm:prSet presAssocID="{9A3F1BEB-F91F-48A8-AF32-BBEF456529BA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19E434-41DD-497F-A4D6-1F12D9A9E8EF}" type="pres">
      <dgm:prSet presAssocID="{9A3F1BEB-F91F-48A8-AF32-BBEF456529BA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07AEB7D-EA27-4E92-AC54-4546D53CEEA6}" type="pres">
      <dgm:prSet presAssocID="{1FADD5B5-1224-4EE9-A2D0-F0A5E770A61E}" presName="sp" presStyleCnt="0"/>
      <dgm:spPr/>
    </dgm:pt>
    <dgm:pt modelId="{7161D862-D3D6-4D13-8404-B2ADD5029AA1}" type="pres">
      <dgm:prSet presAssocID="{1B32B52C-352F-43C2-AE22-151DC1704089}" presName="composite" presStyleCnt="0"/>
      <dgm:spPr/>
    </dgm:pt>
    <dgm:pt modelId="{9C4ECB02-0130-4E0F-9348-698D1481BF7B}" type="pres">
      <dgm:prSet presAssocID="{1B32B52C-352F-43C2-AE22-151DC1704089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712EEA-E87B-4E6F-8963-30243DF4F82B}" type="pres">
      <dgm:prSet presAssocID="{1B32B52C-352F-43C2-AE22-151DC1704089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4682FA-9CB1-4CBF-A673-D72869B8F3B8}" type="pres">
      <dgm:prSet presAssocID="{DB27616A-B701-43A5-BB84-BA5CF5D7BAA4}" presName="sp" presStyleCnt="0"/>
      <dgm:spPr/>
    </dgm:pt>
    <dgm:pt modelId="{473381AD-E04B-4552-82EE-6C23BE2F542C}" type="pres">
      <dgm:prSet presAssocID="{12BE0647-8F01-41C7-BE4E-240D14D7D393}" presName="composite" presStyleCnt="0"/>
      <dgm:spPr/>
    </dgm:pt>
    <dgm:pt modelId="{7AD39F8D-86B2-4C85-9B05-DE719E2FE54B}" type="pres">
      <dgm:prSet presAssocID="{12BE0647-8F01-41C7-BE4E-240D14D7D39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E97AA5-D5CD-4419-8B91-B4DE10C8267C}" type="pres">
      <dgm:prSet presAssocID="{12BE0647-8F01-41C7-BE4E-240D14D7D39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A0F2837-5F05-4C60-9D45-EB7AEBE4B16F}" type="presOf" srcId="{9A3F1BEB-F91F-48A8-AF32-BBEF456529BA}" destId="{1A0ADF67-229D-4FEF-BD29-C0EC68C0F2CE}" srcOrd="0" destOrd="0" presId="urn:microsoft.com/office/officeart/2005/8/layout/chevron2"/>
    <dgm:cxn modelId="{2C607F8C-A08B-44A2-9D67-4646F959F3AD}" type="presOf" srcId="{5B68BCDA-C3F2-439A-B761-8914BB0F664D}" destId="{8119E434-41DD-497F-A4D6-1F12D9A9E8EF}" srcOrd="0" destOrd="0" presId="urn:microsoft.com/office/officeart/2005/8/layout/chevron2"/>
    <dgm:cxn modelId="{B34EDD93-622B-469F-8693-6729E62223AA}" type="presOf" srcId="{1B32B52C-352F-43C2-AE22-151DC1704089}" destId="{9C4ECB02-0130-4E0F-9348-698D1481BF7B}" srcOrd="0" destOrd="0" presId="urn:microsoft.com/office/officeart/2005/8/layout/chevron2"/>
    <dgm:cxn modelId="{7C650078-AD71-4195-A216-95B5F4398934}" srcId="{1B32B52C-352F-43C2-AE22-151DC1704089}" destId="{1B982B0F-AAA9-45A6-9377-5C355A6E7E50}" srcOrd="0" destOrd="0" parTransId="{F0AE2DEC-ECB3-4DF9-8B97-91F26E3C4654}" sibTransId="{28EBA32D-E8C6-4240-B73F-FC6A461BF1F0}"/>
    <dgm:cxn modelId="{D199A43C-D5E5-4A7D-BBE5-D4C0A6C27331}" srcId="{5CC59D06-DDD5-4490-BC8F-7BA6179442ED}" destId="{9A3F1BEB-F91F-48A8-AF32-BBEF456529BA}" srcOrd="0" destOrd="0" parTransId="{D732A1EA-CA34-4F84-B7FE-D87A5D234EAC}" sibTransId="{1FADD5B5-1224-4EE9-A2D0-F0A5E770A61E}"/>
    <dgm:cxn modelId="{394D7356-48CB-42BD-B7A3-1355956EB1F2}" type="presOf" srcId="{A92B3CAE-F197-43DA-BD27-5661729DE60A}" destId="{62E97AA5-D5CD-4419-8B91-B4DE10C8267C}" srcOrd="0" destOrd="0" presId="urn:microsoft.com/office/officeart/2005/8/layout/chevron2"/>
    <dgm:cxn modelId="{7E26E6B2-A6FB-4BE7-BA0E-58A3C2B358FB}" type="presOf" srcId="{5CC59D06-DDD5-4490-BC8F-7BA6179442ED}" destId="{6CB6247F-A26D-47D9-8578-A38772BD39A5}" srcOrd="0" destOrd="0" presId="urn:microsoft.com/office/officeart/2005/8/layout/chevron2"/>
    <dgm:cxn modelId="{EA6E1A0A-D975-4713-A598-162472B9213F}" type="presOf" srcId="{12BE0647-8F01-41C7-BE4E-240D14D7D393}" destId="{7AD39F8D-86B2-4C85-9B05-DE719E2FE54B}" srcOrd="0" destOrd="0" presId="urn:microsoft.com/office/officeart/2005/8/layout/chevron2"/>
    <dgm:cxn modelId="{5D1E69DD-A91A-41D4-9797-029CAB69119D}" srcId="{9A3F1BEB-F91F-48A8-AF32-BBEF456529BA}" destId="{5B68BCDA-C3F2-439A-B761-8914BB0F664D}" srcOrd="0" destOrd="0" parTransId="{70620ACF-5745-4C04-9336-39405A575F0F}" sibTransId="{A71CEBE1-9337-4BE7-BB79-264007723E9D}"/>
    <dgm:cxn modelId="{0D6FB5BC-2307-4D52-A358-92FF1C3816D4}" srcId="{12BE0647-8F01-41C7-BE4E-240D14D7D393}" destId="{A92B3CAE-F197-43DA-BD27-5661729DE60A}" srcOrd="0" destOrd="0" parTransId="{3C6D7FEA-950D-4E94-B67D-AFC082224F7D}" sibTransId="{0A0A35C4-415B-4DBA-9609-A6C05306B762}"/>
    <dgm:cxn modelId="{1AA0BA41-525A-4EBA-9689-3A0BD51EB4C5}" type="presOf" srcId="{1B982B0F-AAA9-45A6-9377-5C355A6E7E50}" destId="{AF712EEA-E87B-4E6F-8963-30243DF4F82B}" srcOrd="0" destOrd="0" presId="urn:microsoft.com/office/officeart/2005/8/layout/chevron2"/>
    <dgm:cxn modelId="{F3D9BDF8-2BA6-481E-9BE1-FA41ACE899B6}" srcId="{5CC59D06-DDD5-4490-BC8F-7BA6179442ED}" destId="{1B32B52C-352F-43C2-AE22-151DC1704089}" srcOrd="1" destOrd="0" parTransId="{B70FA99F-DA35-439F-BC72-D7C24DD3CD6C}" sibTransId="{DB27616A-B701-43A5-BB84-BA5CF5D7BAA4}"/>
    <dgm:cxn modelId="{91825272-C915-44D2-AD16-03BB0E34295A}" srcId="{5CC59D06-DDD5-4490-BC8F-7BA6179442ED}" destId="{12BE0647-8F01-41C7-BE4E-240D14D7D393}" srcOrd="2" destOrd="0" parTransId="{94CB0C71-1636-439C-9849-8F95E96BC883}" sibTransId="{08EB7702-D1B6-4E85-AC45-BA72828A843F}"/>
    <dgm:cxn modelId="{1D144E93-A685-4CA6-B42C-689789467FEC}" type="presParOf" srcId="{6CB6247F-A26D-47D9-8578-A38772BD39A5}" destId="{38D83A55-0435-4CAA-9566-C56C411EE602}" srcOrd="0" destOrd="0" presId="urn:microsoft.com/office/officeart/2005/8/layout/chevron2"/>
    <dgm:cxn modelId="{A98A1097-0CD3-4751-9281-E37DFFE9E998}" type="presParOf" srcId="{38D83A55-0435-4CAA-9566-C56C411EE602}" destId="{1A0ADF67-229D-4FEF-BD29-C0EC68C0F2CE}" srcOrd="0" destOrd="0" presId="urn:microsoft.com/office/officeart/2005/8/layout/chevron2"/>
    <dgm:cxn modelId="{6F7F4991-A4A8-41CC-9A3E-3FAA3CF65C2B}" type="presParOf" srcId="{38D83A55-0435-4CAA-9566-C56C411EE602}" destId="{8119E434-41DD-497F-A4D6-1F12D9A9E8EF}" srcOrd="1" destOrd="0" presId="urn:microsoft.com/office/officeart/2005/8/layout/chevron2"/>
    <dgm:cxn modelId="{D4EF2784-71CB-4BC2-8B22-63F9000C401F}" type="presParOf" srcId="{6CB6247F-A26D-47D9-8578-A38772BD39A5}" destId="{107AEB7D-EA27-4E92-AC54-4546D53CEEA6}" srcOrd="1" destOrd="0" presId="urn:microsoft.com/office/officeart/2005/8/layout/chevron2"/>
    <dgm:cxn modelId="{0705196B-5C47-4FA8-9B3F-040A25F4D6ED}" type="presParOf" srcId="{6CB6247F-A26D-47D9-8578-A38772BD39A5}" destId="{7161D862-D3D6-4D13-8404-B2ADD5029AA1}" srcOrd="2" destOrd="0" presId="urn:microsoft.com/office/officeart/2005/8/layout/chevron2"/>
    <dgm:cxn modelId="{7651ED58-BFAE-40D7-86D3-1F14222A0BAF}" type="presParOf" srcId="{7161D862-D3D6-4D13-8404-B2ADD5029AA1}" destId="{9C4ECB02-0130-4E0F-9348-698D1481BF7B}" srcOrd="0" destOrd="0" presId="urn:microsoft.com/office/officeart/2005/8/layout/chevron2"/>
    <dgm:cxn modelId="{6032B71B-A0EC-45E7-996A-FF28962F4D68}" type="presParOf" srcId="{7161D862-D3D6-4D13-8404-B2ADD5029AA1}" destId="{AF712EEA-E87B-4E6F-8963-30243DF4F82B}" srcOrd="1" destOrd="0" presId="urn:microsoft.com/office/officeart/2005/8/layout/chevron2"/>
    <dgm:cxn modelId="{E5E69477-A9E5-4E10-A864-CFD28D1CE815}" type="presParOf" srcId="{6CB6247F-A26D-47D9-8578-A38772BD39A5}" destId="{1E4682FA-9CB1-4CBF-A673-D72869B8F3B8}" srcOrd="3" destOrd="0" presId="urn:microsoft.com/office/officeart/2005/8/layout/chevron2"/>
    <dgm:cxn modelId="{ACC3E5CA-B770-4F88-85CE-2E2E8AD5EF4D}" type="presParOf" srcId="{6CB6247F-A26D-47D9-8578-A38772BD39A5}" destId="{473381AD-E04B-4552-82EE-6C23BE2F542C}" srcOrd="4" destOrd="0" presId="urn:microsoft.com/office/officeart/2005/8/layout/chevron2"/>
    <dgm:cxn modelId="{70DE0FD7-AED7-471C-A7AF-6BA8D00D3B96}" type="presParOf" srcId="{473381AD-E04B-4552-82EE-6C23BE2F542C}" destId="{7AD39F8D-86B2-4C85-9B05-DE719E2FE54B}" srcOrd="0" destOrd="0" presId="urn:microsoft.com/office/officeart/2005/8/layout/chevron2"/>
    <dgm:cxn modelId="{8C7DEEC7-A9A7-4B88-8312-FE26CEE3ADD6}" type="presParOf" srcId="{473381AD-E04B-4552-82EE-6C23BE2F542C}" destId="{62E97AA5-D5CD-4419-8B91-B4DE10C8267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E62AB6-2CAF-4F26-84AC-7DEFCC4E27A1}" type="doc">
      <dgm:prSet loTypeId="urn:microsoft.com/office/officeart/2005/8/layout/hList7" loCatId="picture" qsTypeId="urn:microsoft.com/office/officeart/2005/8/quickstyle/simple1" qsCatId="simple" csTypeId="urn:microsoft.com/office/officeart/2005/8/colors/accent1_2" csCatId="accent1" phldr="1"/>
      <dgm:spPr/>
    </dgm:pt>
    <dgm:pt modelId="{86E5A280-BC7F-4775-A571-EF3748D87CD3}">
      <dgm:prSet phldrT="[Text]"/>
      <dgm:spPr/>
      <dgm:t>
        <a:bodyPr/>
        <a:lstStyle/>
        <a:p>
          <a:r>
            <a:rPr lang="en-US" dirty="0" smtClean="0"/>
            <a:t>Traditionalists</a:t>
          </a:r>
        </a:p>
        <a:p>
          <a:r>
            <a:rPr lang="en-US" dirty="0" smtClean="0"/>
            <a:t>Pre 1946</a:t>
          </a:r>
        </a:p>
        <a:p>
          <a:r>
            <a:rPr lang="en-US" dirty="0" smtClean="0"/>
            <a:t>75 million</a:t>
          </a:r>
          <a:endParaRPr lang="en-US" dirty="0"/>
        </a:p>
      </dgm:t>
    </dgm:pt>
    <dgm:pt modelId="{6CB6C172-9F43-4620-AC5C-2AEB5BCF54F8}" type="parTrans" cxnId="{39459FD2-2923-4BC8-A2B4-37F563E1AD63}">
      <dgm:prSet/>
      <dgm:spPr/>
      <dgm:t>
        <a:bodyPr/>
        <a:lstStyle/>
        <a:p>
          <a:endParaRPr lang="en-US"/>
        </a:p>
      </dgm:t>
    </dgm:pt>
    <dgm:pt modelId="{B310E002-2F13-434F-9207-BAFFC600DF76}" type="sibTrans" cxnId="{39459FD2-2923-4BC8-A2B4-37F563E1AD63}">
      <dgm:prSet/>
      <dgm:spPr/>
      <dgm:t>
        <a:bodyPr/>
        <a:lstStyle/>
        <a:p>
          <a:endParaRPr lang="en-US"/>
        </a:p>
      </dgm:t>
    </dgm:pt>
    <dgm:pt modelId="{12F1ED87-9603-4123-B47B-BD3CE3B09C8E}">
      <dgm:prSet phldrT="[Text]"/>
      <dgm:spPr>
        <a:solidFill>
          <a:srgbClr val="25629F"/>
        </a:solidFill>
      </dgm:spPr>
      <dgm:t>
        <a:bodyPr/>
        <a:lstStyle/>
        <a:p>
          <a:r>
            <a:rPr lang="en-US" dirty="0" smtClean="0"/>
            <a:t>Baby Boomers</a:t>
          </a:r>
        </a:p>
        <a:p>
          <a:r>
            <a:rPr lang="en-US" dirty="0" smtClean="0"/>
            <a:t>1946-1964</a:t>
          </a:r>
        </a:p>
        <a:p>
          <a:r>
            <a:rPr lang="en-US" dirty="0" smtClean="0"/>
            <a:t>80 million</a:t>
          </a:r>
          <a:endParaRPr lang="en-US" dirty="0"/>
        </a:p>
      </dgm:t>
    </dgm:pt>
    <dgm:pt modelId="{9556DD5A-1C0C-4243-9C70-8117EDEF6FC1}" type="parTrans" cxnId="{615FF580-65D8-4E29-8E72-7E3A2B314FF6}">
      <dgm:prSet/>
      <dgm:spPr/>
      <dgm:t>
        <a:bodyPr/>
        <a:lstStyle/>
        <a:p>
          <a:endParaRPr lang="en-US"/>
        </a:p>
      </dgm:t>
    </dgm:pt>
    <dgm:pt modelId="{FC8B549A-97F8-458D-AD59-DE0274AADBEC}" type="sibTrans" cxnId="{615FF580-65D8-4E29-8E72-7E3A2B314FF6}">
      <dgm:prSet/>
      <dgm:spPr/>
      <dgm:t>
        <a:bodyPr/>
        <a:lstStyle/>
        <a:p>
          <a:endParaRPr lang="en-US"/>
        </a:p>
      </dgm:t>
    </dgm:pt>
    <dgm:pt modelId="{2CCAB67F-3E9D-413E-8822-6001C536C433}">
      <dgm:prSet phldrT="[Text]"/>
      <dgm:spPr>
        <a:solidFill>
          <a:srgbClr val="899BAD"/>
        </a:solidFill>
      </dgm:spPr>
      <dgm:t>
        <a:bodyPr/>
        <a:lstStyle/>
        <a:p>
          <a:r>
            <a:rPr lang="en-US" dirty="0" smtClean="0"/>
            <a:t>Generation X</a:t>
          </a:r>
        </a:p>
        <a:p>
          <a:r>
            <a:rPr lang="en-US" dirty="0" smtClean="0"/>
            <a:t>1965-1979</a:t>
          </a:r>
        </a:p>
        <a:p>
          <a:r>
            <a:rPr lang="en-US" dirty="0" smtClean="0"/>
            <a:t>60 million</a:t>
          </a:r>
          <a:endParaRPr lang="en-US" dirty="0"/>
        </a:p>
      </dgm:t>
    </dgm:pt>
    <dgm:pt modelId="{755DC515-4E1C-4719-96B8-7A00674A700B}" type="parTrans" cxnId="{CCA600B8-DC68-4CDA-876D-55475DD2C2C9}">
      <dgm:prSet/>
      <dgm:spPr/>
      <dgm:t>
        <a:bodyPr/>
        <a:lstStyle/>
        <a:p>
          <a:endParaRPr lang="en-US"/>
        </a:p>
      </dgm:t>
    </dgm:pt>
    <dgm:pt modelId="{C38C1FF4-5A01-44F3-83C8-FEE462699319}" type="sibTrans" cxnId="{CCA600B8-DC68-4CDA-876D-55475DD2C2C9}">
      <dgm:prSet/>
      <dgm:spPr/>
      <dgm:t>
        <a:bodyPr/>
        <a:lstStyle/>
        <a:p>
          <a:endParaRPr lang="en-US"/>
        </a:p>
      </dgm:t>
    </dgm:pt>
    <dgm:pt modelId="{FCDC00B4-7043-48CF-BF7B-4CC2E2979D3D}">
      <dgm:prSet phldrT="[Text]"/>
      <dgm:spPr>
        <a:solidFill>
          <a:srgbClr val="D27D00"/>
        </a:solidFill>
      </dgm:spPr>
      <dgm:t>
        <a:bodyPr/>
        <a:lstStyle/>
        <a:p>
          <a:r>
            <a:rPr lang="en-US" dirty="0" smtClean="0"/>
            <a:t>iGeneration</a:t>
          </a:r>
        </a:p>
        <a:p>
          <a:r>
            <a:rPr lang="en-US" dirty="0" smtClean="0"/>
            <a:t>1995-2012</a:t>
          </a:r>
        </a:p>
        <a:p>
          <a:r>
            <a:rPr lang="en-US" dirty="0" smtClean="0"/>
            <a:t>72 million</a:t>
          </a:r>
          <a:endParaRPr lang="en-US" dirty="0"/>
        </a:p>
      </dgm:t>
    </dgm:pt>
    <dgm:pt modelId="{8A9A9CAB-7794-40D6-B202-065ECDB6FA3F}" type="parTrans" cxnId="{0CB0A584-C68A-4F79-989A-87CDC4DC5151}">
      <dgm:prSet/>
      <dgm:spPr/>
      <dgm:t>
        <a:bodyPr/>
        <a:lstStyle/>
        <a:p>
          <a:endParaRPr lang="en-US"/>
        </a:p>
      </dgm:t>
    </dgm:pt>
    <dgm:pt modelId="{3C74A906-8D9C-4C12-A523-3AF43FDA30C6}" type="sibTrans" cxnId="{0CB0A584-C68A-4F79-989A-87CDC4DC5151}">
      <dgm:prSet/>
      <dgm:spPr/>
      <dgm:t>
        <a:bodyPr/>
        <a:lstStyle/>
        <a:p>
          <a:endParaRPr lang="en-US"/>
        </a:p>
      </dgm:t>
    </dgm:pt>
    <dgm:pt modelId="{536D295C-4AB0-4602-8974-0DCDB692F162}">
      <dgm:prSet phldrT="[Text]"/>
      <dgm:spPr>
        <a:solidFill>
          <a:srgbClr val="925700"/>
        </a:solidFill>
      </dgm:spPr>
      <dgm:t>
        <a:bodyPr/>
        <a:lstStyle/>
        <a:p>
          <a:r>
            <a:rPr lang="en-US" dirty="0" smtClean="0"/>
            <a:t>Millennials</a:t>
          </a:r>
        </a:p>
        <a:p>
          <a:r>
            <a:rPr lang="en-US" dirty="0" smtClean="0"/>
            <a:t>1980-1994</a:t>
          </a:r>
        </a:p>
        <a:p>
          <a:r>
            <a:rPr lang="en-US" dirty="0" smtClean="0"/>
            <a:t>82 million</a:t>
          </a:r>
          <a:endParaRPr lang="en-US" dirty="0"/>
        </a:p>
      </dgm:t>
    </dgm:pt>
    <dgm:pt modelId="{1424CA60-9D62-4B26-BDEA-A50CCAF7FA7F}" type="parTrans" cxnId="{743BC114-936B-481A-A67F-68B246E739EB}">
      <dgm:prSet/>
      <dgm:spPr/>
      <dgm:t>
        <a:bodyPr/>
        <a:lstStyle/>
        <a:p>
          <a:endParaRPr lang="en-US"/>
        </a:p>
      </dgm:t>
    </dgm:pt>
    <dgm:pt modelId="{9FCD9437-8E9A-4688-A913-6AF879D26E5B}" type="sibTrans" cxnId="{743BC114-936B-481A-A67F-68B246E739EB}">
      <dgm:prSet/>
      <dgm:spPr/>
      <dgm:t>
        <a:bodyPr/>
        <a:lstStyle/>
        <a:p>
          <a:endParaRPr lang="en-US"/>
        </a:p>
      </dgm:t>
    </dgm:pt>
    <dgm:pt modelId="{F6391FF6-BA60-4EE1-9984-A7D00F2EB400}" type="pres">
      <dgm:prSet presAssocID="{26E62AB6-2CAF-4F26-84AC-7DEFCC4E27A1}" presName="Name0" presStyleCnt="0">
        <dgm:presLayoutVars>
          <dgm:dir/>
          <dgm:resizeHandles val="exact"/>
        </dgm:presLayoutVars>
      </dgm:prSet>
      <dgm:spPr/>
    </dgm:pt>
    <dgm:pt modelId="{09801E1F-5C5D-45DE-A292-0031DB806D4B}" type="pres">
      <dgm:prSet presAssocID="{26E62AB6-2CAF-4F26-84AC-7DEFCC4E27A1}" presName="fgShape" presStyleLbl="fgShp" presStyleIdx="0" presStyleCnt="1"/>
      <dgm:spPr/>
    </dgm:pt>
    <dgm:pt modelId="{06F8F982-3A6C-45C3-BCE6-914BD2A14F12}" type="pres">
      <dgm:prSet presAssocID="{26E62AB6-2CAF-4F26-84AC-7DEFCC4E27A1}" presName="linComp" presStyleCnt="0"/>
      <dgm:spPr/>
    </dgm:pt>
    <dgm:pt modelId="{52EB1B80-75EC-4F6B-A698-030484186D00}" type="pres">
      <dgm:prSet presAssocID="{86E5A280-BC7F-4775-A571-EF3748D87CD3}" presName="compNode" presStyleCnt="0"/>
      <dgm:spPr/>
    </dgm:pt>
    <dgm:pt modelId="{5EF939E7-1922-4D7E-A7C6-E49F11441422}" type="pres">
      <dgm:prSet presAssocID="{86E5A280-BC7F-4775-A571-EF3748D87CD3}" presName="bkgdShape" presStyleLbl="node1" presStyleIdx="0" presStyleCnt="5"/>
      <dgm:spPr/>
      <dgm:t>
        <a:bodyPr/>
        <a:lstStyle/>
        <a:p>
          <a:endParaRPr lang="en-US"/>
        </a:p>
      </dgm:t>
    </dgm:pt>
    <dgm:pt modelId="{D6029221-AECD-48DA-8889-F9563CA4EA02}" type="pres">
      <dgm:prSet presAssocID="{86E5A280-BC7F-4775-A571-EF3748D87CD3}" presName="nodeTx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E4A599-BFAB-4DD8-B4C8-4FA132506F1F}" type="pres">
      <dgm:prSet presAssocID="{86E5A280-BC7F-4775-A571-EF3748D87CD3}" presName="invisiNode" presStyleLbl="node1" presStyleIdx="0" presStyleCnt="5"/>
      <dgm:spPr/>
    </dgm:pt>
    <dgm:pt modelId="{E78834DA-108F-4024-AB6C-8FFC84C7C492}" type="pres">
      <dgm:prSet presAssocID="{86E5A280-BC7F-4775-A571-EF3748D87CD3}" presName="imagNode" presStyleLbl="fgImgPlac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</dgm:pt>
    <dgm:pt modelId="{3099F305-CD64-437D-9BA0-A54484F976DE}" type="pres">
      <dgm:prSet presAssocID="{B310E002-2F13-434F-9207-BAFFC600DF76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2F7C03D-0B9A-447E-BCD5-8F160F2C0467}" type="pres">
      <dgm:prSet presAssocID="{12F1ED87-9603-4123-B47B-BD3CE3B09C8E}" presName="compNode" presStyleCnt="0"/>
      <dgm:spPr/>
    </dgm:pt>
    <dgm:pt modelId="{495908CE-B5AB-4FE1-ACD2-D40E20D0704F}" type="pres">
      <dgm:prSet presAssocID="{12F1ED87-9603-4123-B47B-BD3CE3B09C8E}" presName="bkgdShape" presStyleLbl="node1" presStyleIdx="1" presStyleCnt="5"/>
      <dgm:spPr/>
      <dgm:t>
        <a:bodyPr/>
        <a:lstStyle/>
        <a:p>
          <a:endParaRPr lang="en-US"/>
        </a:p>
      </dgm:t>
    </dgm:pt>
    <dgm:pt modelId="{2091610B-DC80-4E90-9827-7898E1A2E167}" type="pres">
      <dgm:prSet presAssocID="{12F1ED87-9603-4123-B47B-BD3CE3B09C8E}" presName="nodeTx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3BE483-10C5-402A-8A53-E67ADB9B1D4C}" type="pres">
      <dgm:prSet presAssocID="{12F1ED87-9603-4123-B47B-BD3CE3B09C8E}" presName="invisiNode" presStyleLbl="node1" presStyleIdx="1" presStyleCnt="5"/>
      <dgm:spPr/>
    </dgm:pt>
    <dgm:pt modelId="{61A0556F-B0CC-4F38-AB41-3450E5BA65F8}" type="pres">
      <dgm:prSet presAssocID="{12F1ED87-9603-4123-B47B-BD3CE3B09C8E}" presName="imagNode" presStyleLbl="fgImgPlace1" presStyleIdx="1" presStyleCnt="5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3000" r="-33000"/>
          </a:stretch>
        </a:blipFill>
      </dgm:spPr>
    </dgm:pt>
    <dgm:pt modelId="{1B98C867-659F-4D3D-ADFC-5C03E03C1BE4}" type="pres">
      <dgm:prSet presAssocID="{FC8B549A-97F8-458D-AD59-DE0274AADBEC}" presName="sibTrans" presStyleLbl="sibTrans2D1" presStyleIdx="0" presStyleCnt="0"/>
      <dgm:spPr/>
      <dgm:t>
        <a:bodyPr/>
        <a:lstStyle/>
        <a:p>
          <a:endParaRPr lang="en-US"/>
        </a:p>
      </dgm:t>
    </dgm:pt>
    <dgm:pt modelId="{A2EF942D-646B-454E-B59B-8EABD395BCA8}" type="pres">
      <dgm:prSet presAssocID="{2CCAB67F-3E9D-413E-8822-6001C536C433}" presName="compNode" presStyleCnt="0"/>
      <dgm:spPr/>
    </dgm:pt>
    <dgm:pt modelId="{66D03DD4-5E4E-4AFB-8F37-E609C47DC176}" type="pres">
      <dgm:prSet presAssocID="{2CCAB67F-3E9D-413E-8822-6001C536C433}" presName="bkgdShape" presStyleLbl="node1" presStyleIdx="2" presStyleCnt="5"/>
      <dgm:spPr/>
      <dgm:t>
        <a:bodyPr/>
        <a:lstStyle/>
        <a:p>
          <a:endParaRPr lang="en-US"/>
        </a:p>
      </dgm:t>
    </dgm:pt>
    <dgm:pt modelId="{EC821984-A04B-4543-B3B2-C919D380F78D}" type="pres">
      <dgm:prSet presAssocID="{2CCAB67F-3E9D-413E-8822-6001C536C433}" presName="nodeTx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64CC66-D04B-4D5B-BA16-B8BDDC15964C}" type="pres">
      <dgm:prSet presAssocID="{2CCAB67F-3E9D-413E-8822-6001C536C433}" presName="invisiNode" presStyleLbl="node1" presStyleIdx="2" presStyleCnt="5"/>
      <dgm:spPr/>
    </dgm:pt>
    <dgm:pt modelId="{6BD40C7E-AF0C-4C9C-9F18-8737F53CE4D5}" type="pres">
      <dgm:prSet presAssocID="{2CCAB67F-3E9D-413E-8822-6001C536C433}" presName="imagNode" presStyleLbl="fgImgPlace1" presStyleIdx="2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5AA2E7DF-5F06-4CD5-8D23-8ABA8A21EEB9}" type="pres">
      <dgm:prSet presAssocID="{C38C1FF4-5A01-44F3-83C8-FEE46269931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5B7F482-04E4-4B7D-8567-50FF59A1E324}" type="pres">
      <dgm:prSet presAssocID="{536D295C-4AB0-4602-8974-0DCDB692F162}" presName="compNode" presStyleCnt="0"/>
      <dgm:spPr/>
    </dgm:pt>
    <dgm:pt modelId="{9ECE912D-0C45-4446-B10E-3159E8328190}" type="pres">
      <dgm:prSet presAssocID="{536D295C-4AB0-4602-8974-0DCDB692F162}" presName="bkgdShape" presStyleLbl="node1" presStyleIdx="3" presStyleCnt="5"/>
      <dgm:spPr/>
      <dgm:t>
        <a:bodyPr/>
        <a:lstStyle/>
        <a:p>
          <a:endParaRPr lang="en-US"/>
        </a:p>
      </dgm:t>
    </dgm:pt>
    <dgm:pt modelId="{12DCB7B9-D61C-44C2-A692-19874EEECC64}" type="pres">
      <dgm:prSet presAssocID="{536D295C-4AB0-4602-8974-0DCDB692F162}" presName="nodeTx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2D3F12-0891-4400-B4B0-29562369548E}" type="pres">
      <dgm:prSet presAssocID="{536D295C-4AB0-4602-8974-0DCDB692F162}" presName="invisiNode" presStyleLbl="node1" presStyleIdx="3" presStyleCnt="5"/>
      <dgm:spPr/>
    </dgm:pt>
    <dgm:pt modelId="{998C04F6-7CC8-4440-A5C0-00733E9609FB}" type="pres">
      <dgm:prSet presAssocID="{536D295C-4AB0-4602-8974-0DCDB692F162}" presName="imagNode" presStyleLbl="fgImgPlace1" presStyleIdx="3" presStyleCnt="5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BE6A2991-F3D2-4ED8-978B-B5F04F72FB7F}" type="pres">
      <dgm:prSet presAssocID="{9FCD9437-8E9A-4688-A913-6AF879D26E5B}" presName="sibTrans" presStyleLbl="sibTrans2D1" presStyleIdx="0" presStyleCnt="0"/>
      <dgm:spPr/>
      <dgm:t>
        <a:bodyPr/>
        <a:lstStyle/>
        <a:p>
          <a:endParaRPr lang="en-US"/>
        </a:p>
      </dgm:t>
    </dgm:pt>
    <dgm:pt modelId="{AA29B2DF-086E-4E8E-B2B7-6A63385B288A}" type="pres">
      <dgm:prSet presAssocID="{FCDC00B4-7043-48CF-BF7B-4CC2E2979D3D}" presName="compNode" presStyleCnt="0"/>
      <dgm:spPr/>
    </dgm:pt>
    <dgm:pt modelId="{C9B4359A-B79D-4168-B2F7-06FE181E5EFC}" type="pres">
      <dgm:prSet presAssocID="{FCDC00B4-7043-48CF-BF7B-4CC2E2979D3D}" presName="bkgdShape" presStyleLbl="node1" presStyleIdx="4" presStyleCnt="5"/>
      <dgm:spPr/>
      <dgm:t>
        <a:bodyPr/>
        <a:lstStyle/>
        <a:p>
          <a:endParaRPr lang="en-US"/>
        </a:p>
      </dgm:t>
    </dgm:pt>
    <dgm:pt modelId="{71E7E1AF-DE5B-45FC-93E4-FB0C318C8FC4}" type="pres">
      <dgm:prSet presAssocID="{FCDC00B4-7043-48CF-BF7B-4CC2E2979D3D}" presName="nodeTx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F5AA21-15E9-4356-9BEE-66964A2672C1}" type="pres">
      <dgm:prSet presAssocID="{FCDC00B4-7043-48CF-BF7B-4CC2E2979D3D}" presName="invisiNode" presStyleLbl="node1" presStyleIdx="4" presStyleCnt="5"/>
      <dgm:spPr/>
    </dgm:pt>
    <dgm:pt modelId="{6E820F00-729F-47CE-A081-ACA823C3F60F}" type="pres">
      <dgm:prSet presAssocID="{FCDC00B4-7043-48CF-BF7B-4CC2E2979D3D}" presName="imagNode" presStyleLbl="fgImgPlace1" presStyleIdx="4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</dgm:ptLst>
  <dgm:cxnLst>
    <dgm:cxn modelId="{0CB0A584-C68A-4F79-989A-87CDC4DC5151}" srcId="{26E62AB6-2CAF-4F26-84AC-7DEFCC4E27A1}" destId="{FCDC00B4-7043-48CF-BF7B-4CC2E2979D3D}" srcOrd="4" destOrd="0" parTransId="{8A9A9CAB-7794-40D6-B202-065ECDB6FA3F}" sibTransId="{3C74A906-8D9C-4C12-A523-3AF43FDA30C6}"/>
    <dgm:cxn modelId="{94CD6631-B7C7-4E4E-BD34-8CC086D22EF5}" type="presOf" srcId="{FC8B549A-97F8-458D-AD59-DE0274AADBEC}" destId="{1B98C867-659F-4D3D-ADFC-5C03E03C1BE4}" srcOrd="0" destOrd="0" presId="urn:microsoft.com/office/officeart/2005/8/layout/hList7"/>
    <dgm:cxn modelId="{50D107BF-3C74-4165-9EA2-866171F42F33}" type="presOf" srcId="{12F1ED87-9603-4123-B47B-BD3CE3B09C8E}" destId="{495908CE-B5AB-4FE1-ACD2-D40E20D0704F}" srcOrd="0" destOrd="0" presId="urn:microsoft.com/office/officeart/2005/8/layout/hList7"/>
    <dgm:cxn modelId="{CCA600B8-DC68-4CDA-876D-55475DD2C2C9}" srcId="{26E62AB6-2CAF-4F26-84AC-7DEFCC4E27A1}" destId="{2CCAB67F-3E9D-413E-8822-6001C536C433}" srcOrd="2" destOrd="0" parTransId="{755DC515-4E1C-4719-96B8-7A00674A700B}" sibTransId="{C38C1FF4-5A01-44F3-83C8-FEE462699319}"/>
    <dgm:cxn modelId="{E6576E51-2BE6-4B4C-8DD1-FF5259A47BD5}" type="presOf" srcId="{2CCAB67F-3E9D-413E-8822-6001C536C433}" destId="{EC821984-A04B-4543-B3B2-C919D380F78D}" srcOrd="1" destOrd="0" presId="urn:microsoft.com/office/officeart/2005/8/layout/hList7"/>
    <dgm:cxn modelId="{7906635A-120A-4E9E-849E-88B8EAB2B30F}" type="presOf" srcId="{2CCAB67F-3E9D-413E-8822-6001C536C433}" destId="{66D03DD4-5E4E-4AFB-8F37-E609C47DC176}" srcOrd="0" destOrd="0" presId="urn:microsoft.com/office/officeart/2005/8/layout/hList7"/>
    <dgm:cxn modelId="{CA77FE23-5D97-4D4D-A239-8FF1AFD0650A}" type="presOf" srcId="{536D295C-4AB0-4602-8974-0DCDB692F162}" destId="{12DCB7B9-D61C-44C2-A692-19874EEECC64}" srcOrd="1" destOrd="0" presId="urn:microsoft.com/office/officeart/2005/8/layout/hList7"/>
    <dgm:cxn modelId="{BA65E907-52BC-4A13-8BEF-ECB08F20E0D9}" type="presOf" srcId="{12F1ED87-9603-4123-B47B-BD3CE3B09C8E}" destId="{2091610B-DC80-4E90-9827-7898E1A2E167}" srcOrd="1" destOrd="0" presId="urn:microsoft.com/office/officeart/2005/8/layout/hList7"/>
    <dgm:cxn modelId="{743BC114-936B-481A-A67F-68B246E739EB}" srcId="{26E62AB6-2CAF-4F26-84AC-7DEFCC4E27A1}" destId="{536D295C-4AB0-4602-8974-0DCDB692F162}" srcOrd="3" destOrd="0" parTransId="{1424CA60-9D62-4B26-BDEA-A50CCAF7FA7F}" sibTransId="{9FCD9437-8E9A-4688-A913-6AF879D26E5B}"/>
    <dgm:cxn modelId="{17295FA9-F1AA-4B4D-9146-718A5CF2BC14}" type="presOf" srcId="{FCDC00B4-7043-48CF-BF7B-4CC2E2979D3D}" destId="{71E7E1AF-DE5B-45FC-93E4-FB0C318C8FC4}" srcOrd="1" destOrd="0" presId="urn:microsoft.com/office/officeart/2005/8/layout/hList7"/>
    <dgm:cxn modelId="{615FF580-65D8-4E29-8E72-7E3A2B314FF6}" srcId="{26E62AB6-2CAF-4F26-84AC-7DEFCC4E27A1}" destId="{12F1ED87-9603-4123-B47B-BD3CE3B09C8E}" srcOrd="1" destOrd="0" parTransId="{9556DD5A-1C0C-4243-9C70-8117EDEF6FC1}" sibTransId="{FC8B549A-97F8-458D-AD59-DE0274AADBEC}"/>
    <dgm:cxn modelId="{B48EFC38-1E57-4C68-B3C7-27BD7A7AF56B}" type="presOf" srcId="{86E5A280-BC7F-4775-A571-EF3748D87CD3}" destId="{D6029221-AECD-48DA-8889-F9563CA4EA02}" srcOrd="1" destOrd="0" presId="urn:microsoft.com/office/officeart/2005/8/layout/hList7"/>
    <dgm:cxn modelId="{384ACFA4-BE80-4D31-8047-39349A5EBC69}" type="presOf" srcId="{536D295C-4AB0-4602-8974-0DCDB692F162}" destId="{9ECE912D-0C45-4446-B10E-3159E8328190}" srcOrd="0" destOrd="0" presId="urn:microsoft.com/office/officeart/2005/8/layout/hList7"/>
    <dgm:cxn modelId="{C8349227-FF9D-44F0-B0F2-30049D273BB7}" type="presOf" srcId="{86E5A280-BC7F-4775-A571-EF3748D87CD3}" destId="{5EF939E7-1922-4D7E-A7C6-E49F11441422}" srcOrd="0" destOrd="0" presId="urn:microsoft.com/office/officeart/2005/8/layout/hList7"/>
    <dgm:cxn modelId="{4B8B41DC-AAE6-41E5-B6F1-43B6F4354A1A}" type="presOf" srcId="{FCDC00B4-7043-48CF-BF7B-4CC2E2979D3D}" destId="{C9B4359A-B79D-4168-B2F7-06FE181E5EFC}" srcOrd="0" destOrd="0" presId="urn:microsoft.com/office/officeart/2005/8/layout/hList7"/>
    <dgm:cxn modelId="{D20DD998-0424-47B8-8BA3-C0615C5C2EB3}" type="presOf" srcId="{B310E002-2F13-434F-9207-BAFFC600DF76}" destId="{3099F305-CD64-437D-9BA0-A54484F976DE}" srcOrd="0" destOrd="0" presId="urn:microsoft.com/office/officeart/2005/8/layout/hList7"/>
    <dgm:cxn modelId="{39459FD2-2923-4BC8-A2B4-37F563E1AD63}" srcId="{26E62AB6-2CAF-4F26-84AC-7DEFCC4E27A1}" destId="{86E5A280-BC7F-4775-A571-EF3748D87CD3}" srcOrd="0" destOrd="0" parTransId="{6CB6C172-9F43-4620-AC5C-2AEB5BCF54F8}" sibTransId="{B310E002-2F13-434F-9207-BAFFC600DF76}"/>
    <dgm:cxn modelId="{25742D68-D797-4F34-9C74-BE7469A72EB4}" type="presOf" srcId="{C38C1FF4-5A01-44F3-83C8-FEE462699319}" destId="{5AA2E7DF-5F06-4CD5-8D23-8ABA8A21EEB9}" srcOrd="0" destOrd="0" presId="urn:microsoft.com/office/officeart/2005/8/layout/hList7"/>
    <dgm:cxn modelId="{38B78CB7-EC86-4DF7-913E-5FFE04F394CE}" type="presOf" srcId="{26E62AB6-2CAF-4F26-84AC-7DEFCC4E27A1}" destId="{F6391FF6-BA60-4EE1-9984-A7D00F2EB400}" srcOrd="0" destOrd="0" presId="urn:microsoft.com/office/officeart/2005/8/layout/hList7"/>
    <dgm:cxn modelId="{5A8F6BB8-3CA3-48BE-8BA3-C5BA02B64263}" type="presOf" srcId="{9FCD9437-8E9A-4688-A913-6AF879D26E5B}" destId="{BE6A2991-F3D2-4ED8-978B-B5F04F72FB7F}" srcOrd="0" destOrd="0" presId="urn:microsoft.com/office/officeart/2005/8/layout/hList7"/>
    <dgm:cxn modelId="{3C5840F8-69A8-401B-818C-079DB7155C62}" type="presParOf" srcId="{F6391FF6-BA60-4EE1-9984-A7D00F2EB400}" destId="{09801E1F-5C5D-45DE-A292-0031DB806D4B}" srcOrd="0" destOrd="0" presId="urn:microsoft.com/office/officeart/2005/8/layout/hList7"/>
    <dgm:cxn modelId="{1E46E748-55D8-4FB4-B946-9D6DE65D184F}" type="presParOf" srcId="{F6391FF6-BA60-4EE1-9984-A7D00F2EB400}" destId="{06F8F982-3A6C-45C3-BCE6-914BD2A14F12}" srcOrd="1" destOrd="0" presId="urn:microsoft.com/office/officeart/2005/8/layout/hList7"/>
    <dgm:cxn modelId="{64909652-3BFC-428F-B2C5-E4A928BBC20F}" type="presParOf" srcId="{06F8F982-3A6C-45C3-BCE6-914BD2A14F12}" destId="{52EB1B80-75EC-4F6B-A698-030484186D00}" srcOrd="0" destOrd="0" presId="urn:microsoft.com/office/officeart/2005/8/layout/hList7"/>
    <dgm:cxn modelId="{04323CC5-DC0B-4836-9DC0-F0FF6BE8F045}" type="presParOf" srcId="{52EB1B80-75EC-4F6B-A698-030484186D00}" destId="{5EF939E7-1922-4D7E-A7C6-E49F11441422}" srcOrd="0" destOrd="0" presId="urn:microsoft.com/office/officeart/2005/8/layout/hList7"/>
    <dgm:cxn modelId="{88E817FE-B6EE-4061-B0C3-9CA3B1A23755}" type="presParOf" srcId="{52EB1B80-75EC-4F6B-A698-030484186D00}" destId="{D6029221-AECD-48DA-8889-F9563CA4EA02}" srcOrd="1" destOrd="0" presId="urn:microsoft.com/office/officeart/2005/8/layout/hList7"/>
    <dgm:cxn modelId="{E0A0A080-A91C-48B4-A00B-C85360EDD428}" type="presParOf" srcId="{52EB1B80-75EC-4F6B-A698-030484186D00}" destId="{49E4A599-BFAB-4DD8-B4C8-4FA132506F1F}" srcOrd="2" destOrd="0" presId="urn:microsoft.com/office/officeart/2005/8/layout/hList7"/>
    <dgm:cxn modelId="{434D2C2A-A430-493D-8D98-04208AD2F776}" type="presParOf" srcId="{52EB1B80-75EC-4F6B-A698-030484186D00}" destId="{E78834DA-108F-4024-AB6C-8FFC84C7C492}" srcOrd="3" destOrd="0" presId="urn:microsoft.com/office/officeart/2005/8/layout/hList7"/>
    <dgm:cxn modelId="{8299A91C-5948-4929-8AA4-1BC7A9908AF8}" type="presParOf" srcId="{06F8F982-3A6C-45C3-BCE6-914BD2A14F12}" destId="{3099F305-CD64-437D-9BA0-A54484F976DE}" srcOrd="1" destOrd="0" presId="urn:microsoft.com/office/officeart/2005/8/layout/hList7"/>
    <dgm:cxn modelId="{4E021391-C618-416C-9614-125A03A3E6A2}" type="presParOf" srcId="{06F8F982-3A6C-45C3-BCE6-914BD2A14F12}" destId="{D2F7C03D-0B9A-447E-BCD5-8F160F2C0467}" srcOrd="2" destOrd="0" presId="urn:microsoft.com/office/officeart/2005/8/layout/hList7"/>
    <dgm:cxn modelId="{1FC7DCF0-0C8B-4BA8-95F2-1906910EF518}" type="presParOf" srcId="{D2F7C03D-0B9A-447E-BCD5-8F160F2C0467}" destId="{495908CE-B5AB-4FE1-ACD2-D40E20D0704F}" srcOrd="0" destOrd="0" presId="urn:microsoft.com/office/officeart/2005/8/layout/hList7"/>
    <dgm:cxn modelId="{6A76AB4B-E1EA-4040-974E-8235042539B5}" type="presParOf" srcId="{D2F7C03D-0B9A-447E-BCD5-8F160F2C0467}" destId="{2091610B-DC80-4E90-9827-7898E1A2E167}" srcOrd="1" destOrd="0" presId="urn:microsoft.com/office/officeart/2005/8/layout/hList7"/>
    <dgm:cxn modelId="{2ADA57C1-7C44-4F96-B8DB-8234DEC87DEB}" type="presParOf" srcId="{D2F7C03D-0B9A-447E-BCD5-8F160F2C0467}" destId="{153BE483-10C5-402A-8A53-E67ADB9B1D4C}" srcOrd="2" destOrd="0" presId="urn:microsoft.com/office/officeart/2005/8/layout/hList7"/>
    <dgm:cxn modelId="{B475C1E5-4FBB-4248-AE6E-767DDBFA30E1}" type="presParOf" srcId="{D2F7C03D-0B9A-447E-BCD5-8F160F2C0467}" destId="{61A0556F-B0CC-4F38-AB41-3450E5BA65F8}" srcOrd="3" destOrd="0" presId="urn:microsoft.com/office/officeart/2005/8/layout/hList7"/>
    <dgm:cxn modelId="{1633A236-501E-42A8-A23C-5316E8A9492D}" type="presParOf" srcId="{06F8F982-3A6C-45C3-BCE6-914BD2A14F12}" destId="{1B98C867-659F-4D3D-ADFC-5C03E03C1BE4}" srcOrd="3" destOrd="0" presId="urn:microsoft.com/office/officeart/2005/8/layout/hList7"/>
    <dgm:cxn modelId="{F0135855-2FF5-4ED2-BDE1-BA5B2EF9671D}" type="presParOf" srcId="{06F8F982-3A6C-45C3-BCE6-914BD2A14F12}" destId="{A2EF942D-646B-454E-B59B-8EABD395BCA8}" srcOrd="4" destOrd="0" presId="urn:microsoft.com/office/officeart/2005/8/layout/hList7"/>
    <dgm:cxn modelId="{BE87E3C4-3968-4D66-B958-819CC7977E6C}" type="presParOf" srcId="{A2EF942D-646B-454E-B59B-8EABD395BCA8}" destId="{66D03DD4-5E4E-4AFB-8F37-E609C47DC176}" srcOrd="0" destOrd="0" presId="urn:microsoft.com/office/officeart/2005/8/layout/hList7"/>
    <dgm:cxn modelId="{D6B0767F-D8A8-43DF-9A33-6231428BAEB3}" type="presParOf" srcId="{A2EF942D-646B-454E-B59B-8EABD395BCA8}" destId="{EC821984-A04B-4543-B3B2-C919D380F78D}" srcOrd="1" destOrd="0" presId="urn:microsoft.com/office/officeart/2005/8/layout/hList7"/>
    <dgm:cxn modelId="{9D4D3F2C-0212-4C41-98DE-023051519FF7}" type="presParOf" srcId="{A2EF942D-646B-454E-B59B-8EABD395BCA8}" destId="{DD64CC66-D04B-4D5B-BA16-B8BDDC15964C}" srcOrd="2" destOrd="0" presId="urn:microsoft.com/office/officeart/2005/8/layout/hList7"/>
    <dgm:cxn modelId="{F2BBE7B9-41BC-4CC9-8B5E-C10B567A4D97}" type="presParOf" srcId="{A2EF942D-646B-454E-B59B-8EABD395BCA8}" destId="{6BD40C7E-AF0C-4C9C-9F18-8737F53CE4D5}" srcOrd="3" destOrd="0" presId="urn:microsoft.com/office/officeart/2005/8/layout/hList7"/>
    <dgm:cxn modelId="{D6B4EAF6-CBE3-4071-8261-9B27B54766A9}" type="presParOf" srcId="{06F8F982-3A6C-45C3-BCE6-914BD2A14F12}" destId="{5AA2E7DF-5F06-4CD5-8D23-8ABA8A21EEB9}" srcOrd="5" destOrd="0" presId="urn:microsoft.com/office/officeart/2005/8/layout/hList7"/>
    <dgm:cxn modelId="{038AC313-CBA5-48B4-8029-96B1F2064952}" type="presParOf" srcId="{06F8F982-3A6C-45C3-BCE6-914BD2A14F12}" destId="{D5B7F482-04E4-4B7D-8567-50FF59A1E324}" srcOrd="6" destOrd="0" presId="urn:microsoft.com/office/officeart/2005/8/layout/hList7"/>
    <dgm:cxn modelId="{7C81495E-B108-4EF9-833C-E636E1C1D6B0}" type="presParOf" srcId="{D5B7F482-04E4-4B7D-8567-50FF59A1E324}" destId="{9ECE912D-0C45-4446-B10E-3159E8328190}" srcOrd="0" destOrd="0" presId="urn:microsoft.com/office/officeart/2005/8/layout/hList7"/>
    <dgm:cxn modelId="{7911AC36-A099-4684-8BAF-A34C2440F428}" type="presParOf" srcId="{D5B7F482-04E4-4B7D-8567-50FF59A1E324}" destId="{12DCB7B9-D61C-44C2-A692-19874EEECC64}" srcOrd="1" destOrd="0" presId="urn:microsoft.com/office/officeart/2005/8/layout/hList7"/>
    <dgm:cxn modelId="{5053A3A9-96DB-45DF-9CE2-552158D02A28}" type="presParOf" srcId="{D5B7F482-04E4-4B7D-8567-50FF59A1E324}" destId="{032D3F12-0891-4400-B4B0-29562369548E}" srcOrd="2" destOrd="0" presId="urn:microsoft.com/office/officeart/2005/8/layout/hList7"/>
    <dgm:cxn modelId="{40B22456-248C-4749-B41A-AA48099177FE}" type="presParOf" srcId="{D5B7F482-04E4-4B7D-8567-50FF59A1E324}" destId="{998C04F6-7CC8-4440-A5C0-00733E9609FB}" srcOrd="3" destOrd="0" presId="urn:microsoft.com/office/officeart/2005/8/layout/hList7"/>
    <dgm:cxn modelId="{606E0875-C32A-4AA5-A8C9-BBAE1FA50B91}" type="presParOf" srcId="{06F8F982-3A6C-45C3-BCE6-914BD2A14F12}" destId="{BE6A2991-F3D2-4ED8-978B-B5F04F72FB7F}" srcOrd="7" destOrd="0" presId="urn:microsoft.com/office/officeart/2005/8/layout/hList7"/>
    <dgm:cxn modelId="{DC338243-B543-482D-97D8-82AC1FB3E36A}" type="presParOf" srcId="{06F8F982-3A6C-45C3-BCE6-914BD2A14F12}" destId="{AA29B2DF-086E-4E8E-B2B7-6A63385B288A}" srcOrd="8" destOrd="0" presId="urn:microsoft.com/office/officeart/2005/8/layout/hList7"/>
    <dgm:cxn modelId="{3034344D-1672-461D-AC19-AEA9E8BB1407}" type="presParOf" srcId="{AA29B2DF-086E-4E8E-B2B7-6A63385B288A}" destId="{C9B4359A-B79D-4168-B2F7-06FE181E5EFC}" srcOrd="0" destOrd="0" presId="urn:microsoft.com/office/officeart/2005/8/layout/hList7"/>
    <dgm:cxn modelId="{A7D3DFD8-7153-445D-9A42-004DA53F933D}" type="presParOf" srcId="{AA29B2DF-086E-4E8E-B2B7-6A63385B288A}" destId="{71E7E1AF-DE5B-45FC-93E4-FB0C318C8FC4}" srcOrd="1" destOrd="0" presId="urn:microsoft.com/office/officeart/2005/8/layout/hList7"/>
    <dgm:cxn modelId="{8B584165-67B9-4F71-9BC4-E488163217A9}" type="presParOf" srcId="{AA29B2DF-086E-4E8E-B2B7-6A63385B288A}" destId="{3CF5AA21-15E9-4356-9BEE-66964A2672C1}" srcOrd="2" destOrd="0" presId="urn:microsoft.com/office/officeart/2005/8/layout/hList7"/>
    <dgm:cxn modelId="{1C9CB443-D8FF-4C24-8EC2-0A14FF9A044E}" type="presParOf" srcId="{AA29B2DF-086E-4E8E-B2B7-6A63385B288A}" destId="{6E820F00-729F-47CE-A081-ACA823C3F60F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2AF884-0BCC-469D-A493-251E73AE6F12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750B0E3-E24E-47D3-801F-B7956C1FAA17}">
      <dgm:prSet phldrT="[Text]"/>
      <dgm:spPr>
        <a:solidFill>
          <a:srgbClr val="7030A0"/>
        </a:solidFill>
      </dgm:spPr>
      <dgm:t>
        <a:bodyPr/>
        <a:lstStyle/>
        <a:p>
          <a:r>
            <a:rPr lang="en-US" dirty="0" smtClean="0"/>
            <a:t>More time</a:t>
          </a:r>
          <a:endParaRPr lang="en-US" dirty="0"/>
        </a:p>
      </dgm:t>
    </dgm:pt>
    <dgm:pt modelId="{81BD494C-9858-4B0B-97EA-7E8D5A7BC152}" type="parTrans" cxnId="{3B800341-DD14-4FBC-A41C-C016885C289A}">
      <dgm:prSet/>
      <dgm:spPr/>
      <dgm:t>
        <a:bodyPr/>
        <a:lstStyle/>
        <a:p>
          <a:endParaRPr lang="en-US"/>
        </a:p>
      </dgm:t>
    </dgm:pt>
    <dgm:pt modelId="{DABE060D-010E-41F8-8BDA-DDC27EAC6653}" type="sibTrans" cxnId="{3B800341-DD14-4FBC-A41C-C016885C289A}">
      <dgm:prSet/>
      <dgm:spPr>
        <a:noFill/>
        <a:ln>
          <a:solidFill>
            <a:schemeClr val="bg1"/>
          </a:solidFill>
        </a:ln>
      </dgm:spPr>
      <dgm:t>
        <a:bodyPr/>
        <a:lstStyle/>
        <a:p>
          <a:endParaRPr lang="en-US"/>
        </a:p>
      </dgm:t>
    </dgm:pt>
    <dgm:pt modelId="{76682584-FA3D-431E-9CF8-8325272B1580}">
      <dgm:prSet phldrT="[Text]" custT="1"/>
      <dgm:spPr/>
      <dgm:t>
        <a:bodyPr/>
        <a:lstStyle/>
        <a:p>
          <a:r>
            <a:rPr lang="en-US" sz="3200" b="1" dirty="0" smtClean="0">
              <a:solidFill>
                <a:schemeClr val="tx1"/>
              </a:solidFill>
            </a:rPr>
            <a:t>Communicating with friends electronically </a:t>
          </a:r>
          <a:endParaRPr lang="en-US" sz="3200" b="1" dirty="0">
            <a:solidFill>
              <a:schemeClr val="tx1"/>
            </a:solidFill>
          </a:endParaRPr>
        </a:p>
      </dgm:t>
    </dgm:pt>
    <dgm:pt modelId="{4A0E947D-C99D-4C31-A70D-E8DC1326CC2F}" type="parTrans" cxnId="{0461F51D-1F32-4224-8FE1-BD1DEE7EE669}">
      <dgm:prSet/>
      <dgm:spPr/>
      <dgm:t>
        <a:bodyPr/>
        <a:lstStyle/>
        <a:p>
          <a:endParaRPr lang="en-US"/>
        </a:p>
      </dgm:t>
    </dgm:pt>
    <dgm:pt modelId="{11DEAA29-5CB0-4981-B9A5-D75FF6923C15}" type="sibTrans" cxnId="{0461F51D-1F32-4224-8FE1-BD1DEE7EE669}">
      <dgm:prSet/>
      <dgm:spPr/>
      <dgm:t>
        <a:bodyPr/>
        <a:lstStyle/>
        <a:p>
          <a:endParaRPr lang="en-US"/>
        </a:p>
      </dgm:t>
    </dgm:pt>
    <dgm:pt modelId="{04960D1F-4097-42BC-BA18-398C53604E9E}">
      <dgm:prSet phldrT="[Text]"/>
      <dgm:spPr>
        <a:solidFill>
          <a:srgbClr val="7030A0"/>
        </a:solidFill>
      </dgm:spPr>
      <dgm:t>
        <a:bodyPr/>
        <a:lstStyle/>
        <a:p>
          <a:r>
            <a:rPr lang="en-US" dirty="0" smtClean="0"/>
            <a:t>Less time</a:t>
          </a:r>
          <a:endParaRPr lang="en-US" dirty="0"/>
        </a:p>
      </dgm:t>
    </dgm:pt>
    <dgm:pt modelId="{AAAE179F-EA99-4B04-9FC0-0002A7CE58D3}" type="parTrans" cxnId="{0E7168BA-D79C-49AA-8720-24B89A0C1287}">
      <dgm:prSet/>
      <dgm:spPr/>
      <dgm:t>
        <a:bodyPr/>
        <a:lstStyle/>
        <a:p>
          <a:endParaRPr lang="en-US"/>
        </a:p>
      </dgm:t>
    </dgm:pt>
    <dgm:pt modelId="{35686407-0271-46EB-9716-F1AA643CF1CE}" type="sibTrans" cxnId="{0E7168BA-D79C-49AA-8720-24B89A0C1287}">
      <dgm:prSet/>
      <dgm:spPr/>
      <dgm:t>
        <a:bodyPr/>
        <a:lstStyle/>
        <a:p>
          <a:endParaRPr lang="en-US"/>
        </a:p>
      </dgm:t>
    </dgm:pt>
    <dgm:pt modelId="{A69AE4C1-8EA5-4849-96D3-7BC9CDB13400}">
      <dgm:prSet phldrT="[Text]" custT="1"/>
      <dgm:spPr>
        <a:blipFill rotWithShape="0">
          <a:blip xmlns:r="http://schemas.openxmlformats.org/officeDocument/2006/relationships" r:embed="rId1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r>
            <a:rPr lang="en-US" sz="2800" b="1" dirty="0" smtClean="0"/>
            <a:t>Communicating with friends in person</a:t>
          </a:r>
          <a:endParaRPr lang="en-US" sz="2800" b="1" dirty="0"/>
        </a:p>
      </dgm:t>
    </dgm:pt>
    <dgm:pt modelId="{209A7142-DAD0-48A8-A226-5B8C1AFE8864}" type="parTrans" cxnId="{F0103269-9BB4-41A8-A46D-A7B139CC867C}">
      <dgm:prSet/>
      <dgm:spPr/>
      <dgm:t>
        <a:bodyPr/>
        <a:lstStyle/>
        <a:p>
          <a:endParaRPr lang="en-US"/>
        </a:p>
      </dgm:t>
    </dgm:pt>
    <dgm:pt modelId="{2F7875DA-7E46-45C8-BB81-978A3E3EF295}" type="sibTrans" cxnId="{F0103269-9BB4-41A8-A46D-A7B139CC867C}">
      <dgm:prSet/>
      <dgm:spPr/>
      <dgm:t>
        <a:bodyPr/>
        <a:lstStyle/>
        <a:p>
          <a:endParaRPr lang="en-US"/>
        </a:p>
      </dgm:t>
    </dgm:pt>
    <dgm:pt modelId="{20438ECE-2292-4ABB-B63E-54E7E28FE0A3}">
      <dgm:prSet phldrT="[Text]" custT="1"/>
      <dgm:spPr>
        <a:blipFill rotWithShape="0">
          <a:blip xmlns:r="http://schemas.openxmlformats.org/officeDocument/2006/relationships"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endParaRPr lang="en-US" sz="3200" b="1" dirty="0">
            <a:solidFill>
              <a:schemeClr val="tx1"/>
            </a:solidFill>
          </a:endParaRPr>
        </a:p>
      </dgm:t>
    </dgm:pt>
    <dgm:pt modelId="{3134C9A6-59FB-4691-A3A8-29162422821E}" type="parTrans" cxnId="{033E531B-CD76-443D-B701-9C07A52AEB1B}">
      <dgm:prSet/>
      <dgm:spPr/>
      <dgm:t>
        <a:bodyPr/>
        <a:lstStyle/>
        <a:p>
          <a:endParaRPr lang="en-US"/>
        </a:p>
      </dgm:t>
    </dgm:pt>
    <dgm:pt modelId="{94EF8646-771E-41E5-8EDF-B8F114A61D41}" type="sibTrans" cxnId="{033E531B-CD76-443D-B701-9C07A52AEB1B}">
      <dgm:prSet/>
      <dgm:spPr/>
      <dgm:t>
        <a:bodyPr/>
        <a:lstStyle/>
        <a:p>
          <a:endParaRPr lang="en-US"/>
        </a:p>
      </dgm:t>
    </dgm:pt>
    <dgm:pt modelId="{A582DA2F-C08A-45C2-B75D-23BF070E77D0}" type="pres">
      <dgm:prSet presAssocID="{ED2AF884-0BCC-469D-A493-251E73AE6F1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6E4E55A-9009-4332-9407-091923DD7447}" type="pres">
      <dgm:prSet presAssocID="{ED2AF884-0BCC-469D-A493-251E73AE6F12}" presName="tSp" presStyleCnt="0"/>
      <dgm:spPr/>
    </dgm:pt>
    <dgm:pt modelId="{812CC9AE-B322-4D8D-B096-8AC7BEF112C0}" type="pres">
      <dgm:prSet presAssocID="{ED2AF884-0BCC-469D-A493-251E73AE6F12}" presName="bSp" presStyleCnt="0"/>
      <dgm:spPr/>
    </dgm:pt>
    <dgm:pt modelId="{68F6B366-9842-411B-A747-66E152EB708B}" type="pres">
      <dgm:prSet presAssocID="{ED2AF884-0BCC-469D-A493-251E73AE6F12}" presName="process" presStyleCnt="0"/>
      <dgm:spPr/>
    </dgm:pt>
    <dgm:pt modelId="{D7D24E03-483E-464C-A405-E2F49D02D908}" type="pres">
      <dgm:prSet presAssocID="{C750B0E3-E24E-47D3-801F-B7956C1FAA17}" presName="composite1" presStyleCnt="0"/>
      <dgm:spPr/>
    </dgm:pt>
    <dgm:pt modelId="{952DDB4E-4A31-4ACB-A99E-DF96F1AA1AEF}" type="pres">
      <dgm:prSet presAssocID="{C750B0E3-E24E-47D3-801F-B7956C1FAA17}" presName="dummyNode1" presStyleLbl="node1" presStyleIdx="0" presStyleCnt="2"/>
      <dgm:spPr/>
    </dgm:pt>
    <dgm:pt modelId="{50757762-7B88-4454-B949-689E8716519C}" type="pres">
      <dgm:prSet presAssocID="{C750B0E3-E24E-47D3-801F-B7956C1FAA17}" presName="childNode1" presStyleLbl="bgAcc1" presStyleIdx="0" presStyleCnt="2" custScaleX="160183" custScaleY="141972" custLinFactNeighborX="262" custLinFactNeighborY="-222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66712E-168B-4310-9207-ED784A20C6C2}" type="pres">
      <dgm:prSet presAssocID="{C750B0E3-E24E-47D3-801F-B7956C1FAA17}" presName="childNode1tx" presStyleLbl="b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12EFC8-5BA4-49F1-8BD9-DD70A56F5AE4}" type="pres">
      <dgm:prSet presAssocID="{C750B0E3-E24E-47D3-801F-B7956C1FAA17}" presName="parentNode1" presStyleLbl="node1" presStyleIdx="0" presStyleCnt="2" custLinFactNeighborX="-48828" custLinFactNeighborY="4789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1EBD8B-500F-4066-9576-0C91A5B6FAAB}" type="pres">
      <dgm:prSet presAssocID="{C750B0E3-E24E-47D3-801F-B7956C1FAA17}" presName="connSite1" presStyleCnt="0"/>
      <dgm:spPr/>
    </dgm:pt>
    <dgm:pt modelId="{3C308C4B-B7A9-41DE-B31F-1505883BEFD9}" type="pres">
      <dgm:prSet presAssocID="{DABE060D-010E-41F8-8BDA-DDC27EAC6653}" presName="Name9" presStyleLbl="sibTrans2D1" presStyleIdx="0" presStyleCnt="1" custScaleX="46094" custScaleY="31518" custLinFactX="16507" custLinFactNeighborX="100000" custLinFactNeighborY="15407"/>
      <dgm:spPr/>
      <dgm:t>
        <a:bodyPr/>
        <a:lstStyle/>
        <a:p>
          <a:endParaRPr lang="en-US"/>
        </a:p>
      </dgm:t>
    </dgm:pt>
    <dgm:pt modelId="{E61A630C-4142-41E8-BEB7-E2D8D4919C63}" type="pres">
      <dgm:prSet presAssocID="{04960D1F-4097-42BC-BA18-398C53604E9E}" presName="composite2" presStyleCnt="0"/>
      <dgm:spPr/>
    </dgm:pt>
    <dgm:pt modelId="{676F3342-D762-46F5-9E13-E5F1530863C5}" type="pres">
      <dgm:prSet presAssocID="{04960D1F-4097-42BC-BA18-398C53604E9E}" presName="dummyNode2" presStyleLbl="node1" presStyleIdx="0" presStyleCnt="2"/>
      <dgm:spPr/>
    </dgm:pt>
    <dgm:pt modelId="{CE286B4B-4CF0-4C20-812C-C148A624900C}" type="pres">
      <dgm:prSet presAssocID="{04960D1F-4097-42BC-BA18-398C53604E9E}" presName="childNode2" presStyleLbl="bgAcc1" presStyleIdx="1" presStyleCnt="2" custScaleX="122071" custScaleY="1189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9DD93B-7BA4-4E7B-850A-5BABA962223F}" type="pres">
      <dgm:prSet presAssocID="{04960D1F-4097-42BC-BA18-398C53604E9E}" presName="childNode2tx" presStyleLbl="b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7C01E7-A4DA-48D0-A071-28EB8DFB593E}" type="pres">
      <dgm:prSet presAssocID="{04960D1F-4097-42BC-BA18-398C53604E9E}" presName="parentNode2" presStyleLbl="node1" presStyleIdx="1" presStyleCnt="2" custLinFactNeighborX="-1420" custLinFactNeighborY="-1618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DB334C-94C5-4A3D-AF2E-34717A64EE88}" type="pres">
      <dgm:prSet presAssocID="{04960D1F-4097-42BC-BA18-398C53604E9E}" presName="connSite2" presStyleCnt="0"/>
      <dgm:spPr/>
    </dgm:pt>
  </dgm:ptLst>
  <dgm:cxnLst>
    <dgm:cxn modelId="{273D01E8-C067-4ADD-8394-6B49A2BBAF99}" type="presOf" srcId="{76682584-FA3D-431E-9CF8-8325272B1580}" destId="{50757762-7B88-4454-B949-689E8716519C}" srcOrd="0" destOrd="1" presId="urn:microsoft.com/office/officeart/2005/8/layout/hProcess4"/>
    <dgm:cxn modelId="{0461F51D-1F32-4224-8FE1-BD1DEE7EE669}" srcId="{C750B0E3-E24E-47D3-801F-B7956C1FAA17}" destId="{76682584-FA3D-431E-9CF8-8325272B1580}" srcOrd="1" destOrd="0" parTransId="{4A0E947D-C99D-4C31-A70D-E8DC1326CC2F}" sibTransId="{11DEAA29-5CB0-4981-B9A5-D75FF6923C15}"/>
    <dgm:cxn modelId="{48C4B16E-5D2A-4F72-97A9-2EA6297DD587}" type="presOf" srcId="{ED2AF884-0BCC-469D-A493-251E73AE6F12}" destId="{A582DA2F-C08A-45C2-B75D-23BF070E77D0}" srcOrd="0" destOrd="0" presId="urn:microsoft.com/office/officeart/2005/8/layout/hProcess4"/>
    <dgm:cxn modelId="{8E3A9326-2F69-4F01-B4ED-A6ED9ECE112B}" type="presOf" srcId="{20438ECE-2292-4ABB-B63E-54E7E28FE0A3}" destId="{50757762-7B88-4454-B949-689E8716519C}" srcOrd="0" destOrd="0" presId="urn:microsoft.com/office/officeart/2005/8/layout/hProcess4"/>
    <dgm:cxn modelId="{4991EBA1-9BF5-4AD2-9836-D15C92E4086B}" type="presOf" srcId="{04960D1F-4097-42BC-BA18-398C53604E9E}" destId="{0D7C01E7-A4DA-48D0-A071-28EB8DFB593E}" srcOrd="0" destOrd="0" presId="urn:microsoft.com/office/officeart/2005/8/layout/hProcess4"/>
    <dgm:cxn modelId="{E4F8D9F2-941D-4579-A90E-CD412C69C3E7}" type="presOf" srcId="{20438ECE-2292-4ABB-B63E-54E7E28FE0A3}" destId="{0466712E-168B-4310-9207-ED784A20C6C2}" srcOrd="1" destOrd="0" presId="urn:microsoft.com/office/officeart/2005/8/layout/hProcess4"/>
    <dgm:cxn modelId="{9D89281F-BF90-43BB-B6A4-568B298829C6}" type="presOf" srcId="{C750B0E3-E24E-47D3-801F-B7956C1FAA17}" destId="{E112EFC8-5BA4-49F1-8BD9-DD70A56F5AE4}" srcOrd="0" destOrd="0" presId="urn:microsoft.com/office/officeart/2005/8/layout/hProcess4"/>
    <dgm:cxn modelId="{93A39742-10B7-404D-A68D-238D6BBB4C8C}" type="presOf" srcId="{A69AE4C1-8EA5-4849-96D3-7BC9CDB13400}" destId="{5F9DD93B-7BA4-4E7B-850A-5BABA962223F}" srcOrd="1" destOrd="0" presId="urn:microsoft.com/office/officeart/2005/8/layout/hProcess4"/>
    <dgm:cxn modelId="{96306382-200F-4195-AF6C-CBD6B4C13EA1}" type="presOf" srcId="{A69AE4C1-8EA5-4849-96D3-7BC9CDB13400}" destId="{CE286B4B-4CF0-4C20-812C-C148A624900C}" srcOrd="0" destOrd="0" presId="urn:microsoft.com/office/officeart/2005/8/layout/hProcess4"/>
    <dgm:cxn modelId="{F0103269-9BB4-41A8-A46D-A7B139CC867C}" srcId="{04960D1F-4097-42BC-BA18-398C53604E9E}" destId="{A69AE4C1-8EA5-4849-96D3-7BC9CDB13400}" srcOrd="0" destOrd="0" parTransId="{209A7142-DAD0-48A8-A226-5B8C1AFE8864}" sibTransId="{2F7875DA-7E46-45C8-BB81-978A3E3EF295}"/>
    <dgm:cxn modelId="{3B800341-DD14-4FBC-A41C-C016885C289A}" srcId="{ED2AF884-0BCC-469D-A493-251E73AE6F12}" destId="{C750B0E3-E24E-47D3-801F-B7956C1FAA17}" srcOrd="0" destOrd="0" parTransId="{81BD494C-9858-4B0B-97EA-7E8D5A7BC152}" sibTransId="{DABE060D-010E-41F8-8BDA-DDC27EAC6653}"/>
    <dgm:cxn modelId="{F03ADCF8-B21E-4B73-A273-D173F28193BF}" type="presOf" srcId="{DABE060D-010E-41F8-8BDA-DDC27EAC6653}" destId="{3C308C4B-B7A9-41DE-B31F-1505883BEFD9}" srcOrd="0" destOrd="0" presId="urn:microsoft.com/office/officeart/2005/8/layout/hProcess4"/>
    <dgm:cxn modelId="{B766FEE0-233D-43BF-B88B-BD12F374D783}" type="presOf" srcId="{76682584-FA3D-431E-9CF8-8325272B1580}" destId="{0466712E-168B-4310-9207-ED784A20C6C2}" srcOrd="1" destOrd="1" presId="urn:microsoft.com/office/officeart/2005/8/layout/hProcess4"/>
    <dgm:cxn modelId="{033E531B-CD76-443D-B701-9C07A52AEB1B}" srcId="{C750B0E3-E24E-47D3-801F-B7956C1FAA17}" destId="{20438ECE-2292-4ABB-B63E-54E7E28FE0A3}" srcOrd="0" destOrd="0" parTransId="{3134C9A6-59FB-4691-A3A8-29162422821E}" sibTransId="{94EF8646-771E-41E5-8EDF-B8F114A61D41}"/>
    <dgm:cxn modelId="{0E7168BA-D79C-49AA-8720-24B89A0C1287}" srcId="{ED2AF884-0BCC-469D-A493-251E73AE6F12}" destId="{04960D1F-4097-42BC-BA18-398C53604E9E}" srcOrd="1" destOrd="0" parTransId="{AAAE179F-EA99-4B04-9FC0-0002A7CE58D3}" sibTransId="{35686407-0271-46EB-9716-F1AA643CF1CE}"/>
    <dgm:cxn modelId="{175E6EB5-E519-48BD-83EF-6D5028A48E92}" type="presParOf" srcId="{A582DA2F-C08A-45C2-B75D-23BF070E77D0}" destId="{96E4E55A-9009-4332-9407-091923DD7447}" srcOrd="0" destOrd="0" presId="urn:microsoft.com/office/officeart/2005/8/layout/hProcess4"/>
    <dgm:cxn modelId="{80695091-10E5-46BD-AB36-7F447ECF547F}" type="presParOf" srcId="{A582DA2F-C08A-45C2-B75D-23BF070E77D0}" destId="{812CC9AE-B322-4D8D-B096-8AC7BEF112C0}" srcOrd="1" destOrd="0" presId="urn:microsoft.com/office/officeart/2005/8/layout/hProcess4"/>
    <dgm:cxn modelId="{76E41EFD-028D-4FB0-B3D6-84545A3CFBBB}" type="presParOf" srcId="{A582DA2F-C08A-45C2-B75D-23BF070E77D0}" destId="{68F6B366-9842-411B-A747-66E152EB708B}" srcOrd="2" destOrd="0" presId="urn:microsoft.com/office/officeart/2005/8/layout/hProcess4"/>
    <dgm:cxn modelId="{570E6F98-20FE-4BEE-8898-B11E9047867C}" type="presParOf" srcId="{68F6B366-9842-411B-A747-66E152EB708B}" destId="{D7D24E03-483E-464C-A405-E2F49D02D908}" srcOrd="0" destOrd="0" presId="urn:microsoft.com/office/officeart/2005/8/layout/hProcess4"/>
    <dgm:cxn modelId="{722EFE58-6D62-4828-970B-A54AC1EAFD90}" type="presParOf" srcId="{D7D24E03-483E-464C-A405-E2F49D02D908}" destId="{952DDB4E-4A31-4ACB-A99E-DF96F1AA1AEF}" srcOrd="0" destOrd="0" presId="urn:microsoft.com/office/officeart/2005/8/layout/hProcess4"/>
    <dgm:cxn modelId="{75CF67EC-FA21-43C7-808E-F75FC98B5830}" type="presParOf" srcId="{D7D24E03-483E-464C-A405-E2F49D02D908}" destId="{50757762-7B88-4454-B949-689E8716519C}" srcOrd="1" destOrd="0" presId="urn:microsoft.com/office/officeart/2005/8/layout/hProcess4"/>
    <dgm:cxn modelId="{FE5DD98C-01D6-4C94-8A58-C8DBF51774BA}" type="presParOf" srcId="{D7D24E03-483E-464C-A405-E2F49D02D908}" destId="{0466712E-168B-4310-9207-ED784A20C6C2}" srcOrd="2" destOrd="0" presId="urn:microsoft.com/office/officeart/2005/8/layout/hProcess4"/>
    <dgm:cxn modelId="{B70564AC-137A-490C-B968-5C786C2E2B21}" type="presParOf" srcId="{D7D24E03-483E-464C-A405-E2F49D02D908}" destId="{E112EFC8-5BA4-49F1-8BD9-DD70A56F5AE4}" srcOrd="3" destOrd="0" presId="urn:microsoft.com/office/officeart/2005/8/layout/hProcess4"/>
    <dgm:cxn modelId="{0CBA57AE-CB99-4AB3-8ACC-A0ACB68AA0E1}" type="presParOf" srcId="{D7D24E03-483E-464C-A405-E2F49D02D908}" destId="{BF1EBD8B-500F-4066-9576-0C91A5B6FAAB}" srcOrd="4" destOrd="0" presId="urn:microsoft.com/office/officeart/2005/8/layout/hProcess4"/>
    <dgm:cxn modelId="{5029101B-90CE-4B68-9C55-6BA6986159BE}" type="presParOf" srcId="{68F6B366-9842-411B-A747-66E152EB708B}" destId="{3C308C4B-B7A9-41DE-B31F-1505883BEFD9}" srcOrd="1" destOrd="0" presId="urn:microsoft.com/office/officeart/2005/8/layout/hProcess4"/>
    <dgm:cxn modelId="{0DE16028-1995-455E-8076-A54F31968516}" type="presParOf" srcId="{68F6B366-9842-411B-A747-66E152EB708B}" destId="{E61A630C-4142-41E8-BEB7-E2D8D4919C63}" srcOrd="2" destOrd="0" presId="urn:microsoft.com/office/officeart/2005/8/layout/hProcess4"/>
    <dgm:cxn modelId="{F241DE29-3319-4C6E-A071-F7913835C899}" type="presParOf" srcId="{E61A630C-4142-41E8-BEB7-E2D8D4919C63}" destId="{676F3342-D762-46F5-9E13-E5F1530863C5}" srcOrd="0" destOrd="0" presId="urn:microsoft.com/office/officeart/2005/8/layout/hProcess4"/>
    <dgm:cxn modelId="{DCCD24F6-6A11-4336-B83D-4A7C0666809B}" type="presParOf" srcId="{E61A630C-4142-41E8-BEB7-E2D8D4919C63}" destId="{CE286B4B-4CF0-4C20-812C-C148A624900C}" srcOrd="1" destOrd="0" presId="urn:microsoft.com/office/officeart/2005/8/layout/hProcess4"/>
    <dgm:cxn modelId="{4ECA396D-22F6-4D87-ABFA-8794883EA4FE}" type="presParOf" srcId="{E61A630C-4142-41E8-BEB7-E2D8D4919C63}" destId="{5F9DD93B-7BA4-4E7B-850A-5BABA962223F}" srcOrd="2" destOrd="0" presId="urn:microsoft.com/office/officeart/2005/8/layout/hProcess4"/>
    <dgm:cxn modelId="{BB5F5250-358A-4FBA-BCCE-993AF62951E2}" type="presParOf" srcId="{E61A630C-4142-41E8-BEB7-E2D8D4919C63}" destId="{0D7C01E7-A4DA-48D0-A071-28EB8DFB593E}" srcOrd="3" destOrd="0" presId="urn:microsoft.com/office/officeart/2005/8/layout/hProcess4"/>
    <dgm:cxn modelId="{FFC289B1-C13D-42F1-8F04-ACC254A84F8D}" type="presParOf" srcId="{E61A630C-4142-41E8-BEB7-E2D8D4919C63}" destId="{E1DB334C-94C5-4A3D-AF2E-34717A64EE8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B9A1A3B-1E6F-459E-A67B-E80026A9D69E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6D7D271F-2526-465B-A779-F5C8B58BF60B}">
      <dgm:prSet phldrT="[Text]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We think of the iGen as looking at their phones</a:t>
          </a:r>
          <a:endParaRPr lang="en-US" dirty="0"/>
        </a:p>
      </dgm:t>
    </dgm:pt>
    <dgm:pt modelId="{8BB2D94B-C179-47A0-82FF-C9B3C33016E6}" type="parTrans" cxnId="{CD79D816-5496-4C01-B1F8-A4DA034BAD5F}">
      <dgm:prSet/>
      <dgm:spPr/>
      <dgm:t>
        <a:bodyPr/>
        <a:lstStyle/>
        <a:p>
          <a:endParaRPr lang="en-US"/>
        </a:p>
      </dgm:t>
    </dgm:pt>
    <dgm:pt modelId="{EDAA7EE1-D791-47A7-BD2C-7575D8BD1422}" type="sibTrans" cxnId="{CD79D816-5496-4C01-B1F8-A4DA034BAD5F}">
      <dgm:prSet/>
      <dgm:spPr/>
      <dgm:t>
        <a:bodyPr/>
        <a:lstStyle/>
        <a:p>
          <a:endParaRPr lang="en-US"/>
        </a:p>
      </dgm:t>
    </dgm:pt>
    <dgm:pt modelId="{39D1E8F5-C407-4D85-980D-12A98D9357FC}">
      <dgm:prSet phldrT="[Text]"/>
      <dgm:spPr>
        <a:solidFill>
          <a:srgbClr val="14385C"/>
        </a:solidFill>
      </dgm:spPr>
      <dgm:t>
        <a:bodyPr/>
        <a:lstStyle/>
        <a:p>
          <a:r>
            <a:rPr lang="en-US" dirty="0" smtClean="0"/>
            <a:t>We will think of iGen other traits as time goes on</a:t>
          </a:r>
          <a:endParaRPr lang="en-US" dirty="0"/>
        </a:p>
      </dgm:t>
    </dgm:pt>
    <dgm:pt modelId="{A414CBED-9CD1-4E88-8219-FC4CD76C7DF6}" type="parTrans" cxnId="{FADB6CE6-D8B2-4C18-8F51-952ADDC768DA}">
      <dgm:prSet/>
      <dgm:spPr/>
      <dgm:t>
        <a:bodyPr/>
        <a:lstStyle/>
        <a:p>
          <a:endParaRPr lang="en-US"/>
        </a:p>
      </dgm:t>
    </dgm:pt>
    <dgm:pt modelId="{BFF7CC5E-DD48-43AE-874D-2974D86D4ED2}" type="sibTrans" cxnId="{FADB6CE6-D8B2-4C18-8F51-952ADDC768DA}">
      <dgm:prSet/>
      <dgm:spPr/>
      <dgm:t>
        <a:bodyPr/>
        <a:lstStyle/>
        <a:p>
          <a:endParaRPr lang="en-US"/>
        </a:p>
      </dgm:t>
    </dgm:pt>
    <dgm:pt modelId="{0470C837-1EC3-4855-9E19-CB57910D5F67}" type="pres">
      <dgm:prSet presAssocID="{0B9A1A3B-1E6F-459E-A67B-E80026A9D69E}" presName="CompostProcess" presStyleCnt="0">
        <dgm:presLayoutVars>
          <dgm:dir/>
          <dgm:resizeHandles val="exact"/>
        </dgm:presLayoutVars>
      </dgm:prSet>
      <dgm:spPr/>
    </dgm:pt>
    <dgm:pt modelId="{1E25E53E-C907-4886-888C-BA83067D83CB}" type="pres">
      <dgm:prSet presAssocID="{0B9A1A3B-1E6F-459E-A67B-E80026A9D69E}" presName="arrow" presStyleLbl="bgShp" presStyleIdx="0" presStyleCnt="1"/>
      <dgm:spPr/>
    </dgm:pt>
    <dgm:pt modelId="{5A84686A-6664-47B2-949C-E5C9D575EFE9}" type="pres">
      <dgm:prSet presAssocID="{0B9A1A3B-1E6F-459E-A67B-E80026A9D69E}" presName="linearProcess" presStyleCnt="0"/>
      <dgm:spPr/>
    </dgm:pt>
    <dgm:pt modelId="{6E4814E1-9DDF-42B4-BBCF-2A4724442052}" type="pres">
      <dgm:prSet presAssocID="{6D7D271F-2526-465B-A779-F5C8B58BF60B}" presName="text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6D893D-6414-41D3-B640-F6E0070274C8}" type="pres">
      <dgm:prSet presAssocID="{EDAA7EE1-D791-47A7-BD2C-7575D8BD1422}" presName="sibTrans" presStyleCnt="0"/>
      <dgm:spPr/>
    </dgm:pt>
    <dgm:pt modelId="{C9C04FDB-2A11-47DE-B0EB-A4453A1E1FA9}" type="pres">
      <dgm:prSet presAssocID="{39D1E8F5-C407-4D85-980D-12A98D9357FC}" presName="text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AD384C2-DD4E-4F87-A1D5-52801C095B85}" type="presOf" srcId="{39D1E8F5-C407-4D85-980D-12A98D9357FC}" destId="{C9C04FDB-2A11-47DE-B0EB-A4453A1E1FA9}" srcOrd="0" destOrd="0" presId="urn:microsoft.com/office/officeart/2005/8/layout/hProcess9"/>
    <dgm:cxn modelId="{CD79D816-5496-4C01-B1F8-A4DA034BAD5F}" srcId="{0B9A1A3B-1E6F-459E-A67B-E80026A9D69E}" destId="{6D7D271F-2526-465B-A779-F5C8B58BF60B}" srcOrd="0" destOrd="0" parTransId="{8BB2D94B-C179-47A0-82FF-C9B3C33016E6}" sibTransId="{EDAA7EE1-D791-47A7-BD2C-7575D8BD1422}"/>
    <dgm:cxn modelId="{C150E23E-9F05-475A-B243-1902B92F6CEB}" type="presOf" srcId="{0B9A1A3B-1E6F-459E-A67B-E80026A9D69E}" destId="{0470C837-1EC3-4855-9E19-CB57910D5F67}" srcOrd="0" destOrd="0" presId="urn:microsoft.com/office/officeart/2005/8/layout/hProcess9"/>
    <dgm:cxn modelId="{31B370E4-6844-46D8-A37E-703965CC4152}" type="presOf" srcId="{6D7D271F-2526-465B-A779-F5C8B58BF60B}" destId="{6E4814E1-9DDF-42B4-BBCF-2A4724442052}" srcOrd="0" destOrd="0" presId="urn:microsoft.com/office/officeart/2005/8/layout/hProcess9"/>
    <dgm:cxn modelId="{FADB6CE6-D8B2-4C18-8F51-952ADDC768DA}" srcId="{0B9A1A3B-1E6F-459E-A67B-E80026A9D69E}" destId="{39D1E8F5-C407-4D85-980D-12A98D9357FC}" srcOrd="1" destOrd="0" parTransId="{A414CBED-9CD1-4E88-8219-FC4CD76C7DF6}" sibTransId="{BFF7CC5E-DD48-43AE-874D-2974D86D4ED2}"/>
    <dgm:cxn modelId="{C9FFADCA-DDAA-494A-A4C2-5C591AB03F74}" type="presParOf" srcId="{0470C837-1EC3-4855-9E19-CB57910D5F67}" destId="{1E25E53E-C907-4886-888C-BA83067D83CB}" srcOrd="0" destOrd="0" presId="urn:microsoft.com/office/officeart/2005/8/layout/hProcess9"/>
    <dgm:cxn modelId="{1E3D4770-F150-4002-9415-8A75DCC3ED8E}" type="presParOf" srcId="{0470C837-1EC3-4855-9E19-CB57910D5F67}" destId="{5A84686A-6664-47B2-949C-E5C9D575EFE9}" srcOrd="1" destOrd="0" presId="urn:microsoft.com/office/officeart/2005/8/layout/hProcess9"/>
    <dgm:cxn modelId="{35B84323-DBDE-4068-A5FE-FFC2E8CF68E6}" type="presParOf" srcId="{5A84686A-6664-47B2-949C-E5C9D575EFE9}" destId="{6E4814E1-9DDF-42B4-BBCF-2A4724442052}" srcOrd="0" destOrd="0" presId="urn:microsoft.com/office/officeart/2005/8/layout/hProcess9"/>
    <dgm:cxn modelId="{A4B2D262-ADC6-4678-A8D4-347321B7405A}" type="presParOf" srcId="{5A84686A-6664-47B2-949C-E5C9D575EFE9}" destId="{9D6D893D-6414-41D3-B640-F6E0070274C8}" srcOrd="1" destOrd="0" presId="urn:microsoft.com/office/officeart/2005/8/layout/hProcess9"/>
    <dgm:cxn modelId="{ACD3FD73-E74F-461E-A576-C6B65EFC723B}" type="presParOf" srcId="{5A84686A-6664-47B2-949C-E5C9D575EFE9}" destId="{C9C04FDB-2A11-47DE-B0EB-A4453A1E1FA9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F50D0FD-9C55-4DEC-9B9F-8AEDC26EDC64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2C3BA602-B728-4EB4-8007-5023258B0621}">
      <dgm:prSet phldrT="[Text]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Millennials</a:t>
          </a:r>
          <a:endParaRPr lang="en-US" dirty="0"/>
        </a:p>
      </dgm:t>
    </dgm:pt>
    <dgm:pt modelId="{536E5EDB-088A-4009-8D99-8EA1BA3A8E75}" type="parTrans" cxnId="{0E08AF84-9DC4-4612-8E27-6E33665016AD}">
      <dgm:prSet/>
      <dgm:spPr/>
      <dgm:t>
        <a:bodyPr/>
        <a:lstStyle/>
        <a:p>
          <a:endParaRPr lang="en-US"/>
        </a:p>
      </dgm:t>
    </dgm:pt>
    <dgm:pt modelId="{C8DC6077-176A-4A60-B772-7791BFEF9AD7}" type="sibTrans" cxnId="{0E08AF84-9DC4-4612-8E27-6E33665016AD}">
      <dgm:prSet/>
      <dgm:spPr/>
      <dgm:t>
        <a:bodyPr/>
        <a:lstStyle/>
        <a:p>
          <a:endParaRPr lang="en-US"/>
        </a:p>
      </dgm:t>
    </dgm:pt>
    <dgm:pt modelId="{E8BA708E-A2D9-46AE-A055-9DF13D6A2DA2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dirty="0" smtClean="0"/>
            <a:t>Baby Boomers</a:t>
          </a:r>
          <a:endParaRPr lang="en-US" dirty="0"/>
        </a:p>
      </dgm:t>
    </dgm:pt>
    <dgm:pt modelId="{F37FFF86-0C7E-401B-9182-80ACE100A913}" type="parTrans" cxnId="{EEF806B5-CF63-4C41-9962-4A6283FC0B9D}">
      <dgm:prSet/>
      <dgm:spPr/>
      <dgm:t>
        <a:bodyPr/>
        <a:lstStyle/>
        <a:p>
          <a:endParaRPr lang="en-US"/>
        </a:p>
      </dgm:t>
    </dgm:pt>
    <dgm:pt modelId="{56544205-BF9A-44D7-9EE7-8475ED9C8AA4}" type="sibTrans" cxnId="{EEF806B5-CF63-4C41-9962-4A6283FC0B9D}">
      <dgm:prSet/>
      <dgm:spPr/>
      <dgm:t>
        <a:bodyPr/>
        <a:lstStyle/>
        <a:p>
          <a:endParaRPr lang="en-US"/>
        </a:p>
      </dgm:t>
    </dgm:pt>
    <dgm:pt modelId="{6DC84FC3-2DAC-4038-8CED-C3894DB768A7}" type="pres">
      <dgm:prSet presAssocID="{1F50D0FD-9C55-4DEC-9B9F-8AEDC26ED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2332E46-D5AE-42C4-87D8-F3265FFA576F}" type="pres">
      <dgm:prSet presAssocID="{2C3BA602-B728-4EB4-8007-5023258B0621}" presName="gear1" presStyleLbl="node1" presStyleIdx="0" presStyleCnt="2" custScaleX="126603" custScaleY="124599" custLinFactNeighborX="1070" custLinFactNeighborY="-481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D7C90B-200E-4496-B3D3-3A0A46B1F599}" type="pres">
      <dgm:prSet presAssocID="{2C3BA602-B728-4EB4-8007-5023258B0621}" presName="gear1srcNode" presStyleLbl="node1" presStyleIdx="0" presStyleCnt="2"/>
      <dgm:spPr/>
      <dgm:t>
        <a:bodyPr/>
        <a:lstStyle/>
        <a:p>
          <a:endParaRPr lang="en-US"/>
        </a:p>
      </dgm:t>
    </dgm:pt>
    <dgm:pt modelId="{64BC1515-9FFB-4C4A-8702-2CB180648A0B}" type="pres">
      <dgm:prSet presAssocID="{2C3BA602-B728-4EB4-8007-5023258B0621}" presName="gear1dstNode" presStyleLbl="node1" presStyleIdx="0" presStyleCnt="2"/>
      <dgm:spPr/>
      <dgm:t>
        <a:bodyPr/>
        <a:lstStyle/>
        <a:p>
          <a:endParaRPr lang="en-US"/>
        </a:p>
      </dgm:t>
    </dgm:pt>
    <dgm:pt modelId="{53D126D5-2CEA-47B8-8BEE-036FFF1998F0}" type="pres">
      <dgm:prSet presAssocID="{E8BA708E-A2D9-46AE-A055-9DF13D6A2DA2}" presName="gear2" presStyleLbl="node1" presStyleIdx="1" presStyleCnt="2" custScaleX="127941" custScaleY="127941" custLinFactNeighborX="-22712" custLinFactNeighborY="-2522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D99BEB-0598-4C31-AFCD-BEF74DDA1C1F}" type="pres">
      <dgm:prSet presAssocID="{E8BA708E-A2D9-46AE-A055-9DF13D6A2DA2}" presName="gear2srcNode" presStyleLbl="node1" presStyleIdx="1" presStyleCnt="2"/>
      <dgm:spPr/>
      <dgm:t>
        <a:bodyPr/>
        <a:lstStyle/>
        <a:p>
          <a:endParaRPr lang="en-US"/>
        </a:p>
      </dgm:t>
    </dgm:pt>
    <dgm:pt modelId="{528A8483-9E30-4801-A2C2-5E81449ABB33}" type="pres">
      <dgm:prSet presAssocID="{E8BA708E-A2D9-46AE-A055-9DF13D6A2DA2}" presName="gear2dstNode" presStyleLbl="node1" presStyleIdx="1" presStyleCnt="2"/>
      <dgm:spPr/>
      <dgm:t>
        <a:bodyPr/>
        <a:lstStyle/>
        <a:p>
          <a:endParaRPr lang="en-US"/>
        </a:p>
      </dgm:t>
    </dgm:pt>
    <dgm:pt modelId="{CAF745BE-3B7F-4E16-8EBA-3166389344C6}" type="pres">
      <dgm:prSet presAssocID="{C8DC6077-176A-4A60-B772-7791BFEF9AD7}" presName="connector1" presStyleLbl="sibTrans2D1" presStyleIdx="0" presStyleCnt="2" custScaleX="113035" custScaleY="117381" custLinFactNeighborX="11174" custLinFactNeighborY="169"/>
      <dgm:spPr/>
      <dgm:t>
        <a:bodyPr/>
        <a:lstStyle/>
        <a:p>
          <a:endParaRPr lang="en-US"/>
        </a:p>
      </dgm:t>
    </dgm:pt>
    <dgm:pt modelId="{FFD45158-EBB5-43B8-9B58-303E24A0A0C8}" type="pres">
      <dgm:prSet presAssocID="{56544205-BF9A-44D7-9EE7-8475ED9C8AA4}" presName="connector2" presStyleLbl="sibTrans2D1" presStyleIdx="1" presStyleCnt="2" custLinFactNeighborX="-34962" custLinFactNeighborY="-21810"/>
      <dgm:spPr/>
      <dgm:t>
        <a:bodyPr/>
        <a:lstStyle/>
        <a:p>
          <a:endParaRPr lang="en-US"/>
        </a:p>
      </dgm:t>
    </dgm:pt>
  </dgm:ptLst>
  <dgm:cxnLst>
    <dgm:cxn modelId="{91015070-7B28-4627-A3F7-CD7B7D699BDC}" type="presOf" srcId="{56544205-BF9A-44D7-9EE7-8475ED9C8AA4}" destId="{FFD45158-EBB5-43B8-9B58-303E24A0A0C8}" srcOrd="0" destOrd="0" presId="urn:microsoft.com/office/officeart/2005/8/layout/gear1"/>
    <dgm:cxn modelId="{C216DAB6-A880-4873-B65A-3DB8732C5680}" type="presOf" srcId="{E8BA708E-A2D9-46AE-A055-9DF13D6A2DA2}" destId="{64D99BEB-0598-4C31-AFCD-BEF74DDA1C1F}" srcOrd="1" destOrd="0" presId="urn:microsoft.com/office/officeart/2005/8/layout/gear1"/>
    <dgm:cxn modelId="{53A875BA-0670-4CD6-8CDA-BFE131D408F7}" type="presOf" srcId="{2C3BA602-B728-4EB4-8007-5023258B0621}" destId="{64BC1515-9FFB-4C4A-8702-2CB180648A0B}" srcOrd="2" destOrd="0" presId="urn:microsoft.com/office/officeart/2005/8/layout/gear1"/>
    <dgm:cxn modelId="{0E08AF84-9DC4-4612-8E27-6E33665016AD}" srcId="{1F50D0FD-9C55-4DEC-9B9F-8AEDC26EDC64}" destId="{2C3BA602-B728-4EB4-8007-5023258B0621}" srcOrd="0" destOrd="0" parTransId="{536E5EDB-088A-4009-8D99-8EA1BA3A8E75}" sibTransId="{C8DC6077-176A-4A60-B772-7791BFEF9AD7}"/>
    <dgm:cxn modelId="{5AA96F68-EED2-4DEB-B950-FB147D782A56}" type="presOf" srcId="{C8DC6077-176A-4A60-B772-7791BFEF9AD7}" destId="{CAF745BE-3B7F-4E16-8EBA-3166389344C6}" srcOrd="0" destOrd="0" presId="urn:microsoft.com/office/officeart/2005/8/layout/gear1"/>
    <dgm:cxn modelId="{3FADA4F3-67E5-449E-A567-8B0D184FE12F}" type="presOf" srcId="{2C3BA602-B728-4EB4-8007-5023258B0621}" destId="{8AD7C90B-200E-4496-B3D3-3A0A46B1F599}" srcOrd="1" destOrd="0" presId="urn:microsoft.com/office/officeart/2005/8/layout/gear1"/>
    <dgm:cxn modelId="{19616C5F-8479-4AC5-9522-41C50F64BE34}" type="presOf" srcId="{1F50D0FD-9C55-4DEC-9B9F-8AEDC26EDC64}" destId="{6DC84FC3-2DAC-4038-8CED-C3894DB768A7}" srcOrd="0" destOrd="0" presId="urn:microsoft.com/office/officeart/2005/8/layout/gear1"/>
    <dgm:cxn modelId="{EEF806B5-CF63-4C41-9962-4A6283FC0B9D}" srcId="{1F50D0FD-9C55-4DEC-9B9F-8AEDC26EDC64}" destId="{E8BA708E-A2D9-46AE-A055-9DF13D6A2DA2}" srcOrd="1" destOrd="0" parTransId="{F37FFF86-0C7E-401B-9182-80ACE100A913}" sibTransId="{56544205-BF9A-44D7-9EE7-8475ED9C8AA4}"/>
    <dgm:cxn modelId="{3DA9D0AD-807E-48D4-A558-789C8BD740C2}" type="presOf" srcId="{E8BA708E-A2D9-46AE-A055-9DF13D6A2DA2}" destId="{528A8483-9E30-4801-A2C2-5E81449ABB33}" srcOrd="2" destOrd="0" presId="urn:microsoft.com/office/officeart/2005/8/layout/gear1"/>
    <dgm:cxn modelId="{5BF36F0A-576A-4E23-851B-A687F8F0F406}" type="presOf" srcId="{E8BA708E-A2D9-46AE-A055-9DF13D6A2DA2}" destId="{53D126D5-2CEA-47B8-8BEE-036FFF1998F0}" srcOrd="0" destOrd="0" presId="urn:microsoft.com/office/officeart/2005/8/layout/gear1"/>
    <dgm:cxn modelId="{F2D6BB21-4FF6-4526-B438-89027448C5BF}" type="presOf" srcId="{2C3BA602-B728-4EB4-8007-5023258B0621}" destId="{32332E46-D5AE-42C4-87D8-F3265FFA576F}" srcOrd="0" destOrd="0" presId="urn:microsoft.com/office/officeart/2005/8/layout/gear1"/>
    <dgm:cxn modelId="{D0B8247A-1572-4895-8A1A-7729BA1BD59B}" type="presParOf" srcId="{6DC84FC3-2DAC-4038-8CED-C3894DB768A7}" destId="{32332E46-D5AE-42C4-87D8-F3265FFA576F}" srcOrd="0" destOrd="0" presId="urn:microsoft.com/office/officeart/2005/8/layout/gear1"/>
    <dgm:cxn modelId="{CE673E57-4871-496F-AB37-9B204E2540EE}" type="presParOf" srcId="{6DC84FC3-2DAC-4038-8CED-C3894DB768A7}" destId="{8AD7C90B-200E-4496-B3D3-3A0A46B1F599}" srcOrd="1" destOrd="0" presId="urn:microsoft.com/office/officeart/2005/8/layout/gear1"/>
    <dgm:cxn modelId="{BAEAAE17-24B3-4EF8-96BD-681879468547}" type="presParOf" srcId="{6DC84FC3-2DAC-4038-8CED-C3894DB768A7}" destId="{64BC1515-9FFB-4C4A-8702-2CB180648A0B}" srcOrd="2" destOrd="0" presId="urn:microsoft.com/office/officeart/2005/8/layout/gear1"/>
    <dgm:cxn modelId="{679843BE-7F83-4365-AD77-5CF77396D298}" type="presParOf" srcId="{6DC84FC3-2DAC-4038-8CED-C3894DB768A7}" destId="{53D126D5-2CEA-47B8-8BEE-036FFF1998F0}" srcOrd="3" destOrd="0" presId="urn:microsoft.com/office/officeart/2005/8/layout/gear1"/>
    <dgm:cxn modelId="{67AA5C73-D3AF-41D2-9019-728532FB467F}" type="presParOf" srcId="{6DC84FC3-2DAC-4038-8CED-C3894DB768A7}" destId="{64D99BEB-0598-4C31-AFCD-BEF74DDA1C1F}" srcOrd="4" destOrd="0" presId="urn:microsoft.com/office/officeart/2005/8/layout/gear1"/>
    <dgm:cxn modelId="{9E001572-30AA-4996-8016-1F3E03DF5589}" type="presParOf" srcId="{6DC84FC3-2DAC-4038-8CED-C3894DB768A7}" destId="{528A8483-9E30-4801-A2C2-5E81449ABB33}" srcOrd="5" destOrd="0" presId="urn:microsoft.com/office/officeart/2005/8/layout/gear1"/>
    <dgm:cxn modelId="{76F4C097-360A-4DFD-92AB-B56FE22CB1D9}" type="presParOf" srcId="{6DC84FC3-2DAC-4038-8CED-C3894DB768A7}" destId="{CAF745BE-3B7F-4E16-8EBA-3166389344C6}" srcOrd="6" destOrd="0" presId="urn:microsoft.com/office/officeart/2005/8/layout/gear1"/>
    <dgm:cxn modelId="{114EA879-0254-438E-B137-74621A282EF3}" type="presParOf" srcId="{6DC84FC3-2DAC-4038-8CED-C3894DB768A7}" destId="{FFD45158-EBB5-43B8-9B58-303E24A0A0C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F50D0FD-9C55-4DEC-9B9F-8AEDC26EDC64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2C3BA602-B728-4EB4-8007-5023258B0621}">
      <dgm:prSet phldrT="[Text]"/>
      <dgm:spPr>
        <a:solidFill>
          <a:srgbClr val="25629F"/>
        </a:solidFill>
      </dgm:spPr>
      <dgm:t>
        <a:bodyPr/>
        <a:lstStyle/>
        <a:p>
          <a:r>
            <a:rPr lang="en-US" dirty="0" smtClean="0"/>
            <a:t>iGeneration</a:t>
          </a:r>
          <a:endParaRPr lang="en-US" dirty="0"/>
        </a:p>
      </dgm:t>
    </dgm:pt>
    <dgm:pt modelId="{536E5EDB-088A-4009-8D99-8EA1BA3A8E75}" type="parTrans" cxnId="{0E08AF84-9DC4-4612-8E27-6E33665016AD}">
      <dgm:prSet/>
      <dgm:spPr/>
      <dgm:t>
        <a:bodyPr/>
        <a:lstStyle/>
        <a:p>
          <a:endParaRPr lang="en-US"/>
        </a:p>
      </dgm:t>
    </dgm:pt>
    <dgm:pt modelId="{C8DC6077-176A-4A60-B772-7791BFEF9AD7}" type="sibTrans" cxnId="{0E08AF84-9DC4-4612-8E27-6E33665016AD}">
      <dgm:prSet/>
      <dgm:spPr/>
      <dgm:t>
        <a:bodyPr/>
        <a:lstStyle/>
        <a:p>
          <a:endParaRPr lang="en-US"/>
        </a:p>
      </dgm:t>
    </dgm:pt>
    <dgm:pt modelId="{E8BA708E-A2D9-46AE-A055-9DF13D6A2DA2}">
      <dgm:prSet phldrT="[Text]"/>
      <dgm:spPr>
        <a:solidFill>
          <a:schemeClr val="accent1">
            <a:lumMod val="50000"/>
            <a:lumOff val="50000"/>
          </a:schemeClr>
        </a:solidFill>
      </dgm:spPr>
      <dgm:t>
        <a:bodyPr/>
        <a:lstStyle/>
        <a:p>
          <a:r>
            <a:rPr lang="en-US" dirty="0" smtClean="0"/>
            <a:t>Generation</a:t>
          </a:r>
        </a:p>
        <a:p>
          <a:r>
            <a:rPr lang="en-US" dirty="0" smtClean="0"/>
            <a:t>X</a:t>
          </a:r>
          <a:endParaRPr lang="en-US" dirty="0"/>
        </a:p>
      </dgm:t>
    </dgm:pt>
    <dgm:pt modelId="{F37FFF86-0C7E-401B-9182-80ACE100A913}" type="parTrans" cxnId="{EEF806B5-CF63-4C41-9962-4A6283FC0B9D}">
      <dgm:prSet/>
      <dgm:spPr/>
      <dgm:t>
        <a:bodyPr/>
        <a:lstStyle/>
        <a:p>
          <a:endParaRPr lang="en-US"/>
        </a:p>
      </dgm:t>
    </dgm:pt>
    <dgm:pt modelId="{56544205-BF9A-44D7-9EE7-8475ED9C8AA4}" type="sibTrans" cxnId="{EEF806B5-CF63-4C41-9962-4A6283FC0B9D}">
      <dgm:prSet/>
      <dgm:spPr/>
      <dgm:t>
        <a:bodyPr/>
        <a:lstStyle/>
        <a:p>
          <a:endParaRPr lang="en-US"/>
        </a:p>
      </dgm:t>
    </dgm:pt>
    <dgm:pt modelId="{6DC84FC3-2DAC-4038-8CED-C3894DB768A7}" type="pres">
      <dgm:prSet presAssocID="{1F50D0FD-9C55-4DEC-9B9F-8AEDC26EDC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2332E46-D5AE-42C4-87D8-F3265FFA576F}" type="pres">
      <dgm:prSet presAssocID="{2C3BA602-B728-4EB4-8007-5023258B0621}" presName="gear1" presStyleLbl="node1" presStyleIdx="0" presStyleCnt="2" custScaleX="126603" custScaleY="124599" custLinFactNeighborX="1070" custLinFactNeighborY="-481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D7C90B-200E-4496-B3D3-3A0A46B1F599}" type="pres">
      <dgm:prSet presAssocID="{2C3BA602-B728-4EB4-8007-5023258B0621}" presName="gear1srcNode" presStyleLbl="node1" presStyleIdx="0" presStyleCnt="2"/>
      <dgm:spPr/>
      <dgm:t>
        <a:bodyPr/>
        <a:lstStyle/>
        <a:p>
          <a:endParaRPr lang="en-US"/>
        </a:p>
      </dgm:t>
    </dgm:pt>
    <dgm:pt modelId="{64BC1515-9FFB-4C4A-8702-2CB180648A0B}" type="pres">
      <dgm:prSet presAssocID="{2C3BA602-B728-4EB4-8007-5023258B0621}" presName="gear1dstNode" presStyleLbl="node1" presStyleIdx="0" presStyleCnt="2"/>
      <dgm:spPr/>
      <dgm:t>
        <a:bodyPr/>
        <a:lstStyle/>
        <a:p>
          <a:endParaRPr lang="en-US"/>
        </a:p>
      </dgm:t>
    </dgm:pt>
    <dgm:pt modelId="{53D126D5-2CEA-47B8-8BEE-036FFF1998F0}" type="pres">
      <dgm:prSet presAssocID="{E8BA708E-A2D9-46AE-A055-9DF13D6A2DA2}" presName="gear2" presStyleLbl="node1" presStyleIdx="1" presStyleCnt="2" custScaleX="127941" custScaleY="127941" custLinFactNeighborX="-22712" custLinFactNeighborY="-2522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D99BEB-0598-4C31-AFCD-BEF74DDA1C1F}" type="pres">
      <dgm:prSet presAssocID="{E8BA708E-A2D9-46AE-A055-9DF13D6A2DA2}" presName="gear2srcNode" presStyleLbl="node1" presStyleIdx="1" presStyleCnt="2"/>
      <dgm:spPr/>
      <dgm:t>
        <a:bodyPr/>
        <a:lstStyle/>
        <a:p>
          <a:endParaRPr lang="en-US"/>
        </a:p>
      </dgm:t>
    </dgm:pt>
    <dgm:pt modelId="{528A8483-9E30-4801-A2C2-5E81449ABB33}" type="pres">
      <dgm:prSet presAssocID="{E8BA708E-A2D9-46AE-A055-9DF13D6A2DA2}" presName="gear2dstNode" presStyleLbl="node1" presStyleIdx="1" presStyleCnt="2"/>
      <dgm:spPr/>
      <dgm:t>
        <a:bodyPr/>
        <a:lstStyle/>
        <a:p>
          <a:endParaRPr lang="en-US"/>
        </a:p>
      </dgm:t>
    </dgm:pt>
    <dgm:pt modelId="{CAF745BE-3B7F-4E16-8EBA-3166389344C6}" type="pres">
      <dgm:prSet presAssocID="{C8DC6077-176A-4A60-B772-7791BFEF9AD7}" presName="connector1" presStyleLbl="sibTrans2D1" presStyleIdx="0" presStyleCnt="2" custScaleX="113035" custScaleY="117381" custLinFactNeighborX="11174" custLinFactNeighborY="169"/>
      <dgm:spPr/>
      <dgm:t>
        <a:bodyPr/>
        <a:lstStyle/>
        <a:p>
          <a:endParaRPr lang="en-US"/>
        </a:p>
      </dgm:t>
    </dgm:pt>
    <dgm:pt modelId="{FFD45158-EBB5-43B8-9B58-303E24A0A0C8}" type="pres">
      <dgm:prSet presAssocID="{56544205-BF9A-44D7-9EE7-8475ED9C8AA4}" presName="connector2" presStyleLbl="sibTrans2D1" presStyleIdx="1" presStyleCnt="2" custLinFactNeighborX="-34962" custLinFactNeighborY="-21810"/>
      <dgm:spPr/>
      <dgm:t>
        <a:bodyPr/>
        <a:lstStyle/>
        <a:p>
          <a:endParaRPr lang="en-US"/>
        </a:p>
      </dgm:t>
    </dgm:pt>
  </dgm:ptLst>
  <dgm:cxnLst>
    <dgm:cxn modelId="{CA0DA75F-0DB6-43BD-B98F-F66DE6725EF2}" type="presOf" srcId="{E8BA708E-A2D9-46AE-A055-9DF13D6A2DA2}" destId="{53D126D5-2CEA-47B8-8BEE-036FFF1998F0}" srcOrd="0" destOrd="0" presId="urn:microsoft.com/office/officeart/2005/8/layout/gear1"/>
    <dgm:cxn modelId="{EEF806B5-CF63-4C41-9962-4A6283FC0B9D}" srcId="{1F50D0FD-9C55-4DEC-9B9F-8AEDC26EDC64}" destId="{E8BA708E-A2D9-46AE-A055-9DF13D6A2DA2}" srcOrd="1" destOrd="0" parTransId="{F37FFF86-0C7E-401B-9182-80ACE100A913}" sibTransId="{56544205-BF9A-44D7-9EE7-8475ED9C8AA4}"/>
    <dgm:cxn modelId="{8AD215C1-9ECE-4FE5-9939-A57AF20A67EC}" type="presOf" srcId="{2C3BA602-B728-4EB4-8007-5023258B0621}" destId="{64BC1515-9FFB-4C4A-8702-2CB180648A0B}" srcOrd="2" destOrd="0" presId="urn:microsoft.com/office/officeart/2005/8/layout/gear1"/>
    <dgm:cxn modelId="{FCE25083-D9EC-4F71-B582-4F0E3C693C46}" type="presOf" srcId="{56544205-BF9A-44D7-9EE7-8475ED9C8AA4}" destId="{FFD45158-EBB5-43B8-9B58-303E24A0A0C8}" srcOrd="0" destOrd="0" presId="urn:microsoft.com/office/officeart/2005/8/layout/gear1"/>
    <dgm:cxn modelId="{FC2EDD94-D093-40AA-882B-AD1279D5B044}" type="presOf" srcId="{E8BA708E-A2D9-46AE-A055-9DF13D6A2DA2}" destId="{528A8483-9E30-4801-A2C2-5E81449ABB33}" srcOrd="2" destOrd="0" presId="urn:microsoft.com/office/officeart/2005/8/layout/gear1"/>
    <dgm:cxn modelId="{9F409238-DF70-46CC-AF33-234A6C2B22F9}" type="presOf" srcId="{2C3BA602-B728-4EB4-8007-5023258B0621}" destId="{32332E46-D5AE-42C4-87D8-F3265FFA576F}" srcOrd="0" destOrd="0" presId="urn:microsoft.com/office/officeart/2005/8/layout/gear1"/>
    <dgm:cxn modelId="{6B5146F3-FA5F-4088-9DBE-693417983B0C}" type="presOf" srcId="{E8BA708E-A2D9-46AE-A055-9DF13D6A2DA2}" destId="{64D99BEB-0598-4C31-AFCD-BEF74DDA1C1F}" srcOrd="1" destOrd="0" presId="urn:microsoft.com/office/officeart/2005/8/layout/gear1"/>
    <dgm:cxn modelId="{0549F8F1-6F1E-4381-99D4-7B5A63E12F0C}" type="presOf" srcId="{C8DC6077-176A-4A60-B772-7791BFEF9AD7}" destId="{CAF745BE-3B7F-4E16-8EBA-3166389344C6}" srcOrd="0" destOrd="0" presId="urn:microsoft.com/office/officeart/2005/8/layout/gear1"/>
    <dgm:cxn modelId="{0E08AF84-9DC4-4612-8E27-6E33665016AD}" srcId="{1F50D0FD-9C55-4DEC-9B9F-8AEDC26EDC64}" destId="{2C3BA602-B728-4EB4-8007-5023258B0621}" srcOrd="0" destOrd="0" parTransId="{536E5EDB-088A-4009-8D99-8EA1BA3A8E75}" sibTransId="{C8DC6077-176A-4A60-B772-7791BFEF9AD7}"/>
    <dgm:cxn modelId="{1A008EF7-AC85-43B9-9FC5-CB9658099B7B}" type="presOf" srcId="{2C3BA602-B728-4EB4-8007-5023258B0621}" destId="{8AD7C90B-200E-4496-B3D3-3A0A46B1F599}" srcOrd="1" destOrd="0" presId="urn:microsoft.com/office/officeart/2005/8/layout/gear1"/>
    <dgm:cxn modelId="{C4A064CE-F051-4B12-9803-8AE7C5E1F555}" type="presOf" srcId="{1F50D0FD-9C55-4DEC-9B9F-8AEDC26EDC64}" destId="{6DC84FC3-2DAC-4038-8CED-C3894DB768A7}" srcOrd="0" destOrd="0" presId="urn:microsoft.com/office/officeart/2005/8/layout/gear1"/>
    <dgm:cxn modelId="{FC853CB1-728B-44FA-8FF8-FE07C875AA62}" type="presParOf" srcId="{6DC84FC3-2DAC-4038-8CED-C3894DB768A7}" destId="{32332E46-D5AE-42C4-87D8-F3265FFA576F}" srcOrd="0" destOrd="0" presId="urn:microsoft.com/office/officeart/2005/8/layout/gear1"/>
    <dgm:cxn modelId="{83A8087F-01AF-4C35-8A13-633A99D2A11C}" type="presParOf" srcId="{6DC84FC3-2DAC-4038-8CED-C3894DB768A7}" destId="{8AD7C90B-200E-4496-B3D3-3A0A46B1F599}" srcOrd="1" destOrd="0" presId="urn:microsoft.com/office/officeart/2005/8/layout/gear1"/>
    <dgm:cxn modelId="{7C6D7F88-8F31-49B3-853A-00894B11AA8E}" type="presParOf" srcId="{6DC84FC3-2DAC-4038-8CED-C3894DB768A7}" destId="{64BC1515-9FFB-4C4A-8702-2CB180648A0B}" srcOrd="2" destOrd="0" presId="urn:microsoft.com/office/officeart/2005/8/layout/gear1"/>
    <dgm:cxn modelId="{AA9A6D0B-8659-4B6F-8F51-F89C2C74C14D}" type="presParOf" srcId="{6DC84FC3-2DAC-4038-8CED-C3894DB768A7}" destId="{53D126D5-2CEA-47B8-8BEE-036FFF1998F0}" srcOrd="3" destOrd="0" presId="urn:microsoft.com/office/officeart/2005/8/layout/gear1"/>
    <dgm:cxn modelId="{B9C092D6-EA50-4D01-BEA4-E473FFFEF4A1}" type="presParOf" srcId="{6DC84FC3-2DAC-4038-8CED-C3894DB768A7}" destId="{64D99BEB-0598-4C31-AFCD-BEF74DDA1C1F}" srcOrd="4" destOrd="0" presId="urn:microsoft.com/office/officeart/2005/8/layout/gear1"/>
    <dgm:cxn modelId="{F2C11295-F77A-41AE-985C-8C218AD37F4F}" type="presParOf" srcId="{6DC84FC3-2DAC-4038-8CED-C3894DB768A7}" destId="{528A8483-9E30-4801-A2C2-5E81449ABB33}" srcOrd="5" destOrd="0" presId="urn:microsoft.com/office/officeart/2005/8/layout/gear1"/>
    <dgm:cxn modelId="{294763D9-9C70-4EB5-9950-73506B738A7F}" type="presParOf" srcId="{6DC84FC3-2DAC-4038-8CED-C3894DB768A7}" destId="{CAF745BE-3B7F-4E16-8EBA-3166389344C6}" srcOrd="6" destOrd="0" presId="urn:microsoft.com/office/officeart/2005/8/layout/gear1"/>
    <dgm:cxn modelId="{8F0A6213-EB6F-4C1B-9396-06957227B407}" type="presParOf" srcId="{6DC84FC3-2DAC-4038-8CED-C3894DB768A7}" destId="{FFD45158-EBB5-43B8-9B58-303E24A0A0C8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61FA17B-5C67-491F-A775-59EE12AD57BA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E83D8E4-D0BE-4E34-B589-57EEE5528F2B}">
      <dgm:prSet phldrT="[Text]"/>
      <dgm:spPr/>
      <dgm:t>
        <a:bodyPr/>
        <a:lstStyle/>
        <a:p>
          <a:r>
            <a:rPr lang="en-US" dirty="0" smtClean="0"/>
            <a:t>Diversity</a:t>
          </a:r>
          <a:endParaRPr lang="en-US" dirty="0"/>
        </a:p>
      </dgm:t>
    </dgm:pt>
    <dgm:pt modelId="{D8A5E08E-B636-4F52-9E03-CE4B9C681906}" type="parTrans" cxnId="{5A12C3C7-8AA8-4763-B49A-F32ED3D374AF}">
      <dgm:prSet/>
      <dgm:spPr/>
      <dgm:t>
        <a:bodyPr/>
        <a:lstStyle/>
        <a:p>
          <a:endParaRPr lang="en-US"/>
        </a:p>
      </dgm:t>
    </dgm:pt>
    <dgm:pt modelId="{AA508852-4A01-4F31-9270-D6C853718109}" type="sibTrans" cxnId="{5A12C3C7-8AA8-4763-B49A-F32ED3D374AF}">
      <dgm:prSet/>
      <dgm:spPr/>
      <dgm:t>
        <a:bodyPr/>
        <a:lstStyle/>
        <a:p>
          <a:endParaRPr lang="en-US"/>
        </a:p>
      </dgm:t>
    </dgm:pt>
    <dgm:pt modelId="{8820FD29-5E46-4A31-9699-67611981FEE1}">
      <dgm:prSet phldrT="[Text]"/>
      <dgm:spPr>
        <a:solidFill>
          <a:schemeClr val="accent1">
            <a:lumMod val="50000"/>
            <a:lumOff val="50000"/>
          </a:schemeClr>
        </a:solidFill>
      </dgm:spPr>
      <dgm:t>
        <a:bodyPr/>
        <a:lstStyle/>
        <a:p>
          <a:r>
            <a:rPr lang="en-US" dirty="0" smtClean="0"/>
            <a:t>Economy</a:t>
          </a:r>
          <a:endParaRPr lang="en-US" dirty="0"/>
        </a:p>
      </dgm:t>
    </dgm:pt>
    <dgm:pt modelId="{58871D24-654D-4B02-9FD3-ABEB79D6912F}" type="parTrans" cxnId="{12E4FE26-FDCC-44EC-B0FA-05A21F6ED249}">
      <dgm:prSet/>
      <dgm:spPr/>
      <dgm:t>
        <a:bodyPr/>
        <a:lstStyle/>
        <a:p>
          <a:endParaRPr lang="en-US"/>
        </a:p>
      </dgm:t>
    </dgm:pt>
    <dgm:pt modelId="{2EE4630D-E2E5-42BC-9A82-834219A00D28}" type="sibTrans" cxnId="{12E4FE26-FDCC-44EC-B0FA-05A21F6ED249}">
      <dgm:prSet/>
      <dgm:spPr/>
      <dgm:t>
        <a:bodyPr/>
        <a:lstStyle/>
        <a:p>
          <a:endParaRPr lang="en-US"/>
        </a:p>
      </dgm:t>
    </dgm:pt>
    <dgm:pt modelId="{300AAA82-46CC-43FC-87FB-8D41F897AA08}">
      <dgm:prSet phldrT="[Text]"/>
      <dgm:spPr>
        <a:solidFill>
          <a:srgbClr val="925700"/>
        </a:solidFill>
      </dgm:spPr>
      <dgm:t>
        <a:bodyPr/>
        <a:lstStyle/>
        <a:p>
          <a:r>
            <a:rPr lang="en-US" dirty="0" smtClean="0"/>
            <a:t>War on Terrorism</a:t>
          </a:r>
          <a:endParaRPr lang="en-US" dirty="0"/>
        </a:p>
      </dgm:t>
    </dgm:pt>
    <dgm:pt modelId="{7C658C6F-4BEB-4BBD-8966-A166ED6752F8}" type="parTrans" cxnId="{5EFB2985-CA52-4F0B-88A0-6444958F9D0A}">
      <dgm:prSet/>
      <dgm:spPr/>
      <dgm:t>
        <a:bodyPr/>
        <a:lstStyle/>
        <a:p>
          <a:endParaRPr lang="en-US"/>
        </a:p>
      </dgm:t>
    </dgm:pt>
    <dgm:pt modelId="{47A2AFB9-8A37-404C-8373-E211D617EECC}" type="sibTrans" cxnId="{5EFB2985-CA52-4F0B-88A0-6444958F9D0A}">
      <dgm:prSet/>
      <dgm:spPr/>
      <dgm:t>
        <a:bodyPr/>
        <a:lstStyle/>
        <a:p>
          <a:endParaRPr lang="en-US"/>
        </a:p>
      </dgm:t>
    </dgm:pt>
    <dgm:pt modelId="{D3C509C6-40E9-4061-A9CC-0FE7CCEF1954}">
      <dgm:prSet phldrT="[Text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Environment</a:t>
          </a:r>
          <a:endParaRPr lang="en-US" dirty="0"/>
        </a:p>
      </dgm:t>
    </dgm:pt>
    <dgm:pt modelId="{DE28D02B-4213-4FE7-A895-6050A5A2708D}" type="parTrans" cxnId="{48EFF68E-9595-43B0-893A-4E162821B18B}">
      <dgm:prSet/>
      <dgm:spPr/>
      <dgm:t>
        <a:bodyPr/>
        <a:lstStyle/>
        <a:p>
          <a:endParaRPr lang="en-US"/>
        </a:p>
      </dgm:t>
    </dgm:pt>
    <dgm:pt modelId="{6B227804-F6C6-42CC-82A1-BCE18B01B233}" type="sibTrans" cxnId="{48EFF68E-9595-43B0-893A-4E162821B18B}">
      <dgm:prSet/>
      <dgm:spPr/>
      <dgm:t>
        <a:bodyPr/>
        <a:lstStyle/>
        <a:p>
          <a:endParaRPr lang="en-US"/>
        </a:p>
      </dgm:t>
    </dgm:pt>
    <dgm:pt modelId="{ED3941FE-931C-422B-B840-287D384AED3F}">
      <dgm:prSet phldrT="[Text]"/>
      <dgm:spPr>
        <a:solidFill>
          <a:schemeClr val="accent1">
            <a:lumMod val="50000"/>
            <a:lumOff val="50000"/>
          </a:schemeClr>
        </a:solidFill>
      </dgm:spPr>
      <dgm:t>
        <a:bodyPr/>
        <a:lstStyle/>
        <a:p>
          <a:r>
            <a:rPr lang="en-US" dirty="0" smtClean="0"/>
            <a:t>Politics</a:t>
          </a:r>
          <a:endParaRPr lang="en-US" dirty="0"/>
        </a:p>
      </dgm:t>
    </dgm:pt>
    <dgm:pt modelId="{233F6783-972C-4DF9-A6FD-C1F7CEDE957E}" type="parTrans" cxnId="{F515AD65-D047-4A3E-8E20-E933A0A6E2D9}">
      <dgm:prSet/>
      <dgm:spPr/>
      <dgm:t>
        <a:bodyPr/>
        <a:lstStyle/>
        <a:p>
          <a:endParaRPr lang="en-US"/>
        </a:p>
      </dgm:t>
    </dgm:pt>
    <dgm:pt modelId="{4AAEC68C-4E6F-4079-B5B3-AEB06E2A63BA}" type="sibTrans" cxnId="{F515AD65-D047-4A3E-8E20-E933A0A6E2D9}">
      <dgm:prSet/>
      <dgm:spPr/>
      <dgm:t>
        <a:bodyPr/>
        <a:lstStyle/>
        <a:p>
          <a:endParaRPr lang="en-US"/>
        </a:p>
      </dgm:t>
    </dgm:pt>
    <dgm:pt modelId="{D3EABB87-0729-43B6-B926-F892E2A10FA3}">
      <dgm:prSet phldrT="[Text]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en-US" dirty="0" smtClean="0"/>
            <a:t>Celebrity &amp; Media</a:t>
          </a:r>
          <a:endParaRPr lang="en-US" dirty="0"/>
        </a:p>
      </dgm:t>
    </dgm:pt>
    <dgm:pt modelId="{B7CFDD9D-0A06-4921-8E77-3EFC95A04A21}" type="parTrans" cxnId="{9CD8B337-DD7F-4015-94EA-1978E4E7E5BE}">
      <dgm:prSet/>
      <dgm:spPr/>
      <dgm:t>
        <a:bodyPr/>
        <a:lstStyle/>
        <a:p>
          <a:endParaRPr lang="en-US"/>
        </a:p>
      </dgm:t>
    </dgm:pt>
    <dgm:pt modelId="{3C417620-0E67-432B-8B1B-8469D574B1DB}" type="sibTrans" cxnId="{9CD8B337-DD7F-4015-94EA-1978E4E7E5BE}">
      <dgm:prSet/>
      <dgm:spPr/>
      <dgm:t>
        <a:bodyPr/>
        <a:lstStyle/>
        <a:p>
          <a:endParaRPr lang="en-US"/>
        </a:p>
      </dgm:t>
    </dgm:pt>
    <dgm:pt modelId="{CAF69292-E3FB-4849-8421-AC8DCD0D343E}">
      <dgm:prSet phldrT="[Text]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en-US" dirty="0" smtClean="0"/>
            <a:t>Technology</a:t>
          </a:r>
          <a:endParaRPr lang="en-US" dirty="0"/>
        </a:p>
      </dgm:t>
    </dgm:pt>
    <dgm:pt modelId="{661B1879-3C61-4337-8567-78BBAEDFE5B3}" type="parTrans" cxnId="{137C65AC-F862-483A-B4D1-137DA1E7034D}">
      <dgm:prSet/>
      <dgm:spPr/>
      <dgm:t>
        <a:bodyPr/>
        <a:lstStyle/>
        <a:p>
          <a:endParaRPr lang="en-US"/>
        </a:p>
      </dgm:t>
    </dgm:pt>
    <dgm:pt modelId="{96A24C69-1B8E-489E-9EAA-9B151F1A3152}" type="sibTrans" cxnId="{137C65AC-F862-483A-B4D1-137DA1E7034D}">
      <dgm:prSet/>
      <dgm:spPr/>
      <dgm:t>
        <a:bodyPr/>
        <a:lstStyle/>
        <a:p>
          <a:endParaRPr lang="en-US"/>
        </a:p>
      </dgm:t>
    </dgm:pt>
    <dgm:pt modelId="{13575A10-ED7E-446E-9BDB-FD3DD143C2A2}" type="pres">
      <dgm:prSet presAssocID="{761FA17B-5C67-491F-A775-59EE12AD57B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7FA484-78D3-4E2F-B56A-D42BFFF19CB5}" type="pres">
      <dgm:prSet presAssocID="{761FA17B-5C67-491F-A775-59EE12AD57BA}" presName="cycle" presStyleCnt="0"/>
      <dgm:spPr/>
    </dgm:pt>
    <dgm:pt modelId="{F84D768C-1099-4B19-85E8-E07FFB48E038}" type="pres">
      <dgm:prSet presAssocID="{7E83D8E4-D0BE-4E34-B589-57EEE5528F2B}" presName="nodeFirst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41FBB1-2478-4739-839C-EDEEDEC73D57}" type="pres">
      <dgm:prSet presAssocID="{AA508852-4A01-4F31-9270-D6C853718109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7F249201-93AF-4109-82A1-970985A8C29A}" type="pres">
      <dgm:prSet presAssocID="{8820FD29-5E46-4A31-9699-67611981FEE1}" presName="nodeFollowingNodes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52AC02-2183-4790-B643-99F3ACBED5BC}" type="pres">
      <dgm:prSet presAssocID="{300AAA82-46CC-43FC-87FB-8D41F897AA08}" presName="nodeFollowingNodes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B6F06C-00FE-416B-B094-8D10562D268A}" type="pres">
      <dgm:prSet presAssocID="{D3C509C6-40E9-4061-A9CC-0FE7CCEF1954}" presName="nodeFollowingNodes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D91E1A-3D55-4737-B756-A5BEB933ECAC}" type="pres">
      <dgm:prSet presAssocID="{ED3941FE-931C-422B-B840-287D384AED3F}" presName="nodeFollowingNodes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E49468A-2E7A-44D2-B723-1122DD823EDF}" type="pres">
      <dgm:prSet presAssocID="{D3EABB87-0729-43B6-B926-F892E2A10FA3}" presName="nodeFollowingNodes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499EC8-4602-4C18-9922-8B3EB3A2B2D0}" type="pres">
      <dgm:prSet presAssocID="{CAF69292-E3FB-4849-8421-AC8DCD0D343E}" presName="nodeFollowingNodes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CD8B337-DD7F-4015-94EA-1978E4E7E5BE}" srcId="{761FA17B-5C67-491F-A775-59EE12AD57BA}" destId="{D3EABB87-0729-43B6-B926-F892E2A10FA3}" srcOrd="5" destOrd="0" parTransId="{B7CFDD9D-0A06-4921-8E77-3EFC95A04A21}" sibTransId="{3C417620-0E67-432B-8B1B-8469D574B1DB}"/>
    <dgm:cxn modelId="{F8136DC1-6AD3-4EE7-A58C-72237FCF74CE}" type="presOf" srcId="{761FA17B-5C67-491F-A775-59EE12AD57BA}" destId="{13575A10-ED7E-446E-9BDB-FD3DD143C2A2}" srcOrd="0" destOrd="0" presId="urn:microsoft.com/office/officeart/2005/8/layout/cycle3"/>
    <dgm:cxn modelId="{5EFB2985-CA52-4F0B-88A0-6444958F9D0A}" srcId="{761FA17B-5C67-491F-A775-59EE12AD57BA}" destId="{300AAA82-46CC-43FC-87FB-8D41F897AA08}" srcOrd="2" destOrd="0" parTransId="{7C658C6F-4BEB-4BBD-8966-A166ED6752F8}" sibTransId="{47A2AFB9-8A37-404C-8373-E211D617EECC}"/>
    <dgm:cxn modelId="{EBC5D316-465A-49C7-A100-7D3AE8D11953}" type="presOf" srcId="{D3C509C6-40E9-4061-A9CC-0FE7CCEF1954}" destId="{7BB6F06C-00FE-416B-B094-8D10562D268A}" srcOrd="0" destOrd="0" presId="urn:microsoft.com/office/officeart/2005/8/layout/cycle3"/>
    <dgm:cxn modelId="{137C65AC-F862-483A-B4D1-137DA1E7034D}" srcId="{761FA17B-5C67-491F-A775-59EE12AD57BA}" destId="{CAF69292-E3FB-4849-8421-AC8DCD0D343E}" srcOrd="6" destOrd="0" parTransId="{661B1879-3C61-4337-8567-78BBAEDFE5B3}" sibTransId="{96A24C69-1B8E-489E-9EAA-9B151F1A3152}"/>
    <dgm:cxn modelId="{5A12C3C7-8AA8-4763-B49A-F32ED3D374AF}" srcId="{761FA17B-5C67-491F-A775-59EE12AD57BA}" destId="{7E83D8E4-D0BE-4E34-B589-57EEE5528F2B}" srcOrd="0" destOrd="0" parTransId="{D8A5E08E-B636-4F52-9E03-CE4B9C681906}" sibTransId="{AA508852-4A01-4F31-9270-D6C853718109}"/>
    <dgm:cxn modelId="{115F00D2-5EB3-44EB-8B6F-AF1273CF2707}" type="presOf" srcId="{AA508852-4A01-4F31-9270-D6C853718109}" destId="{E141FBB1-2478-4739-839C-EDEEDEC73D57}" srcOrd="0" destOrd="0" presId="urn:microsoft.com/office/officeart/2005/8/layout/cycle3"/>
    <dgm:cxn modelId="{FD89DBB3-D186-4377-BB19-E6C650D30109}" type="presOf" srcId="{D3EABB87-0729-43B6-B926-F892E2A10FA3}" destId="{DE49468A-2E7A-44D2-B723-1122DD823EDF}" srcOrd="0" destOrd="0" presId="urn:microsoft.com/office/officeart/2005/8/layout/cycle3"/>
    <dgm:cxn modelId="{31A99E3C-2295-458F-A852-DE4606D2A73A}" type="presOf" srcId="{ED3941FE-931C-422B-B840-287D384AED3F}" destId="{D5D91E1A-3D55-4737-B756-A5BEB933ECAC}" srcOrd="0" destOrd="0" presId="urn:microsoft.com/office/officeart/2005/8/layout/cycle3"/>
    <dgm:cxn modelId="{50245200-3C35-47C0-888B-377CDB8E228E}" type="presOf" srcId="{300AAA82-46CC-43FC-87FB-8D41F897AA08}" destId="{8D52AC02-2183-4790-B643-99F3ACBED5BC}" srcOrd="0" destOrd="0" presId="urn:microsoft.com/office/officeart/2005/8/layout/cycle3"/>
    <dgm:cxn modelId="{F515AD65-D047-4A3E-8E20-E933A0A6E2D9}" srcId="{761FA17B-5C67-491F-A775-59EE12AD57BA}" destId="{ED3941FE-931C-422B-B840-287D384AED3F}" srcOrd="4" destOrd="0" parTransId="{233F6783-972C-4DF9-A6FD-C1F7CEDE957E}" sibTransId="{4AAEC68C-4E6F-4079-B5B3-AEB06E2A63BA}"/>
    <dgm:cxn modelId="{48EFF68E-9595-43B0-893A-4E162821B18B}" srcId="{761FA17B-5C67-491F-A775-59EE12AD57BA}" destId="{D3C509C6-40E9-4061-A9CC-0FE7CCEF1954}" srcOrd="3" destOrd="0" parTransId="{DE28D02B-4213-4FE7-A895-6050A5A2708D}" sibTransId="{6B227804-F6C6-42CC-82A1-BCE18B01B233}"/>
    <dgm:cxn modelId="{0E6E4EFE-6F40-49C3-930A-4840BB4A9AA5}" type="presOf" srcId="{7E83D8E4-D0BE-4E34-B589-57EEE5528F2B}" destId="{F84D768C-1099-4B19-85E8-E07FFB48E038}" srcOrd="0" destOrd="0" presId="urn:microsoft.com/office/officeart/2005/8/layout/cycle3"/>
    <dgm:cxn modelId="{12E4FE26-FDCC-44EC-B0FA-05A21F6ED249}" srcId="{761FA17B-5C67-491F-A775-59EE12AD57BA}" destId="{8820FD29-5E46-4A31-9699-67611981FEE1}" srcOrd="1" destOrd="0" parTransId="{58871D24-654D-4B02-9FD3-ABEB79D6912F}" sibTransId="{2EE4630D-E2E5-42BC-9A82-834219A00D28}"/>
    <dgm:cxn modelId="{95D577BC-12CA-4D7E-90BE-45C11CDF3C53}" type="presOf" srcId="{CAF69292-E3FB-4849-8421-AC8DCD0D343E}" destId="{8B499EC8-4602-4C18-9922-8B3EB3A2B2D0}" srcOrd="0" destOrd="0" presId="urn:microsoft.com/office/officeart/2005/8/layout/cycle3"/>
    <dgm:cxn modelId="{4BA10DC4-C7B0-4F90-9985-BECAF58F522F}" type="presOf" srcId="{8820FD29-5E46-4A31-9699-67611981FEE1}" destId="{7F249201-93AF-4109-82A1-970985A8C29A}" srcOrd="0" destOrd="0" presId="urn:microsoft.com/office/officeart/2005/8/layout/cycle3"/>
    <dgm:cxn modelId="{03E5F0B2-EB9D-4A44-AEA4-FBEA48E5008A}" type="presParOf" srcId="{13575A10-ED7E-446E-9BDB-FD3DD143C2A2}" destId="{1E7FA484-78D3-4E2F-B56A-D42BFFF19CB5}" srcOrd="0" destOrd="0" presId="urn:microsoft.com/office/officeart/2005/8/layout/cycle3"/>
    <dgm:cxn modelId="{A860CA9D-495F-4C65-ACBD-CF3F97F88DBF}" type="presParOf" srcId="{1E7FA484-78D3-4E2F-B56A-D42BFFF19CB5}" destId="{F84D768C-1099-4B19-85E8-E07FFB48E038}" srcOrd="0" destOrd="0" presId="urn:microsoft.com/office/officeart/2005/8/layout/cycle3"/>
    <dgm:cxn modelId="{E1804F5E-7CAE-4E2B-A09F-DB44035155D9}" type="presParOf" srcId="{1E7FA484-78D3-4E2F-B56A-D42BFFF19CB5}" destId="{E141FBB1-2478-4739-839C-EDEEDEC73D57}" srcOrd="1" destOrd="0" presId="urn:microsoft.com/office/officeart/2005/8/layout/cycle3"/>
    <dgm:cxn modelId="{43BE9864-4892-46CD-963E-E3EBD8FBAA81}" type="presParOf" srcId="{1E7FA484-78D3-4E2F-B56A-D42BFFF19CB5}" destId="{7F249201-93AF-4109-82A1-970985A8C29A}" srcOrd="2" destOrd="0" presId="urn:microsoft.com/office/officeart/2005/8/layout/cycle3"/>
    <dgm:cxn modelId="{7D2EA193-CEFF-498C-993D-DA0912DB3F3A}" type="presParOf" srcId="{1E7FA484-78D3-4E2F-B56A-D42BFFF19CB5}" destId="{8D52AC02-2183-4790-B643-99F3ACBED5BC}" srcOrd="3" destOrd="0" presId="urn:microsoft.com/office/officeart/2005/8/layout/cycle3"/>
    <dgm:cxn modelId="{1A28D1D2-699F-4F66-98A6-5BF97027FE0C}" type="presParOf" srcId="{1E7FA484-78D3-4E2F-B56A-D42BFFF19CB5}" destId="{7BB6F06C-00FE-416B-B094-8D10562D268A}" srcOrd="4" destOrd="0" presId="urn:microsoft.com/office/officeart/2005/8/layout/cycle3"/>
    <dgm:cxn modelId="{05A1B815-C091-48DA-973B-44471FEC20A5}" type="presParOf" srcId="{1E7FA484-78D3-4E2F-B56A-D42BFFF19CB5}" destId="{D5D91E1A-3D55-4737-B756-A5BEB933ECAC}" srcOrd="5" destOrd="0" presId="urn:microsoft.com/office/officeart/2005/8/layout/cycle3"/>
    <dgm:cxn modelId="{62C3A47F-01D3-4132-8528-57627914C166}" type="presParOf" srcId="{1E7FA484-78D3-4E2F-B56A-D42BFFF19CB5}" destId="{DE49468A-2E7A-44D2-B723-1122DD823EDF}" srcOrd="6" destOrd="0" presId="urn:microsoft.com/office/officeart/2005/8/layout/cycle3"/>
    <dgm:cxn modelId="{AEAF85FF-C1A5-4AC2-B3DA-5268DB009AC2}" type="presParOf" srcId="{1E7FA484-78D3-4E2F-B56A-D42BFFF19CB5}" destId="{8B499EC8-4602-4C18-9922-8B3EB3A2B2D0}" srcOrd="7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D4429462-BBEB-4DC9-9B06-3DFB5BFBEFC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9AA8C94-5A6B-42DB-871C-C19BBE21A88D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dirty="0" smtClean="0"/>
            <a:t>Phigital </a:t>
          </a:r>
          <a:endParaRPr lang="en-US" dirty="0"/>
        </a:p>
      </dgm:t>
    </dgm:pt>
    <dgm:pt modelId="{EAC7B817-1EF7-4762-89CF-DD6EF7730016}" type="parTrans" cxnId="{85D128A6-10E3-415F-A8A0-C35E3E4ACD84}">
      <dgm:prSet/>
      <dgm:spPr/>
      <dgm:t>
        <a:bodyPr/>
        <a:lstStyle/>
        <a:p>
          <a:endParaRPr lang="en-US"/>
        </a:p>
      </dgm:t>
    </dgm:pt>
    <dgm:pt modelId="{D4E32D12-2286-401C-9E74-EE5B82B32732}" type="sibTrans" cxnId="{85D128A6-10E3-415F-A8A0-C35E3E4ACD84}">
      <dgm:prSet/>
      <dgm:spPr/>
      <dgm:t>
        <a:bodyPr/>
        <a:lstStyle/>
        <a:p>
          <a:endParaRPr lang="en-US"/>
        </a:p>
      </dgm:t>
    </dgm:pt>
    <dgm:pt modelId="{0295FA2A-D8FC-4E63-AD5B-1AE81BBDEFAE}">
      <dgm:prSet phldrT="[Text]"/>
      <dgm:spPr>
        <a:solidFill>
          <a:srgbClr val="00B050"/>
        </a:solidFill>
      </dgm:spPr>
      <dgm:t>
        <a:bodyPr/>
        <a:lstStyle/>
        <a:p>
          <a:r>
            <a:rPr lang="en-US" dirty="0" smtClean="0"/>
            <a:t>Hyper-Custom</a:t>
          </a:r>
          <a:endParaRPr lang="en-US" dirty="0"/>
        </a:p>
      </dgm:t>
    </dgm:pt>
    <dgm:pt modelId="{24A7B83E-75B3-4BB1-90B6-BF289399ADD6}" type="parTrans" cxnId="{E6527817-04EE-421F-9580-62256BB4A950}">
      <dgm:prSet/>
      <dgm:spPr/>
      <dgm:t>
        <a:bodyPr/>
        <a:lstStyle/>
        <a:p>
          <a:endParaRPr lang="en-US"/>
        </a:p>
      </dgm:t>
    </dgm:pt>
    <dgm:pt modelId="{A3805CB3-C1B6-4C0A-A8AB-BD60FF1455B7}" type="sibTrans" cxnId="{E6527817-04EE-421F-9580-62256BB4A950}">
      <dgm:prSet/>
      <dgm:spPr/>
      <dgm:t>
        <a:bodyPr/>
        <a:lstStyle/>
        <a:p>
          <a:endParaRPr lang="en-US"/>
        </a:p>
      </dgm:t>
    </dgm:pt>
    <dgm:pt modelId="{885C3ED7-0CBB-4270-9612-AC1985840E7C}">
      <dgm:prSet phldrT="[Text]"/>
      <dgm:spPr>
        <a:solidFill>
          <a:schemeClr val="bg2">
            <a:lumMod val="25000"/>
          </a:schemeClr>
        </a:solidFill>
      </dgm:spPr>
      <dgm:t>
        <a:bodyPr/>
        <a:lstStyle/>
        <a:p>
          <a:r>
            <a:rPr lang="en-US" dirty="0" smtClean="0"/>
            <a:t>Realistic</a:t>
          </a:r>
          <a:endParaRPr lang="en-US" dirty="0"/>
        </a:p>
      </dgm:t>
    </dgm:pt>
    <dgm:pt modelId="{9D627362-0F83-4663-9F9D-E3B806E7E01F}" type="parTrans" cxnId="{24E1EB4E-0AE0-4690-BF63-17F5DC3624A4}">
      <dgm:prSet/>
      <dgm:spPr/>
      <dgm:t>
        <a:bodyPr/>
        <a:lstStyle/>
        <a:p>
          <a:endParaRPr lang="en-US"/>
        </a:p>
      </dgm:t>
    </dgm:pt>
    <dgm:pt modelId="{49EA6824-05CF-43E5-952B-FD7B1B0FADA5}" type="sibTrans" cxnId="{24E1EB4E-0AE0-4690-BF63-17F5DC3624A4}">
      <dgm:prSet/>
      <dgm:spPr/>
      <dgm:t>
        <a:bodyPr/>
        <a:lstStyle/>
        <a:p>
          <a:endParaRPr lang="en-US"/>
        </a:p>
      </dgm:t>
    </dgm:pt>
    <dgm:pt modelId="{01C6D9F6-CC7A-473A-A253-FBFAD1E31CBC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en-US" dirty="0" err="1" smtClean="0"/>
            <a:t>Weconomists</a:t>
          </a:r>
          <a:endParaRPr lang="en-US" dirty="0"/>
        </a:p>
      </dgm:t>
    </dgm:pt>
    <dgm:pt modelId="{8A411222-3AC9-458D-864B-4B053B93B2CE}" type="parTrans" cxnId="{F3AFB636-76E0-4026-95F5-CD5C159DBFC8}">
      <dgm:prSet/>
      <dgm:spPr/>
      <dgm:t>
        <a:bodyPr/>
        <a:lstStyle/>
        <a:p>
          <a:endParaRPr lang="en-US"/>
        </a:p>
      </dgm:t>
    </dgm:pt>
    <dgm:pt modelId="{FE09D512-6F31-4A2A-90CD-426281F4C07B}" type="sibTrans" cxnId="{F3AFB636-76E0-4026-95F5-CD5C159DBFC8}">
      <dgm:prSet/>
      <dgm:spPr/>
      <dgm:t>
        <a:bodyPr/>
        <a:lstStyle/>
        <a:p>
          <a:endParaRPr lang="en-US"/>
        </a:p>
      </dgm:t>
    </dgm:pt>
    <dgm:pt modelId="{10FB07CA-877F-4644-B0B1-62294B37DF32}">
      <dgm:prSet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n-US" dirty="0" smtClean="0"/>
            <a:t>DIY </a:t>
          </a:r>
          <a:endParaRPr lang="en-US" dirty="0"/>
        </a:p>
      </dgm:t>
    </dgm:pt>
    <dgm:pt modelId="{57C777FC-81CA-4EA3-A3D2-7A0233FC3714}" type="parTrans" cxnId="{198CF2E0-1BAD-4405-915E-96060867333B}">
      <dgm:prSet/>
      <dgm:spPr/>
      <dgm:t>
        <a:bodyPr/>
        <a:lstStyle/>
        <a:p>
          <a:endParaRPr lang="en-US"/>
        </a:p>
      </dgm:t>
    </dgm:pt>
    <dgm:pt modelId="{8DDE37B1-69B2-4226-BA51-08D9565D952F}" type="sibTrans" cxnId="{198CF2E0-1BAD-4405-915E-96060867333B}">
      <dgm:prSet/>
      <dgm:spPr/>
      <dgm:t>
        <a:bodyPr/>
        <a:lstStyle/>
        <a:p>
          <a:endParaRPr lang="en-US"/>
        </a:p>
      </dgm:t>
    </dgm:pt>
    <dgm:pt modelId="{6E9B0C43-9636-4229-BC1B-68571FE4EBCD}">
      <dgm:prSet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en-US" dirty="0" smtClean="0"/>
            <a:t>Driven</a:t>
          </a:r>
          <a:endParaRPr lang="en-US" dirty="0"/>
        </a:p>
      </dgm:t>
    </dgm:pt>
    <dgm:pt modelId="{7E820837-53F3-471E-8744-C8596C03B7C1}" type="parTrans" cxnId="{5B469E9D-FCB8-4CBC-A995-7A4F66B66DB5}">
      <dgm:prSet/>
      <dgm:spPr/>
      <dgm:t>
        <a:bodyPr/>
        <a:lstStyle/>
        <a:p>
          <a:endParaRPr lang="en-US"/>
        </a:p>
      </dgm:t>
    </dgm:pt>
    <dgm:pt modelId="{F401E169-DF9A-4616-9DAE-6903947B5D8F}" type="sibTrans" cxnId="{5B469E9D-FCB8-4CBC-A995-7A4F66B66DB5}">
      <dgm:prSet/>
      <dgm:spPr/>
      <dgm:t>
        <a:bodyPr/>
        <a:lstStyle/>
        <a:p>
          <a:endParaRPr lang="en-US"/>
        </a:p>
      </dgm:t>
    </dgm:pt>
    <dgm:pt modelId="{887BB1F7-A506-4CB9-8EFC-8ABB0C832CCD}">
      <dgm:prSet phldrT="[Text]"/>
      <dgm:spPr>
        <a:solidFill>
          <a:srgbClr val="925700"/>
        </a:solidFill>
      </dgm:spPr>
      <dgm:t>
        <a:bodyPr/>
        <a:lstStyle/>
        <a:p>
          <a:r>
            <a:rPr lang="en-US" smtClean="0"/>
            <a:t>FOMO</a:t>
          </a:r>
          <a:endParaRPr lang="en-US" dirty="0"/>
        </a:p>
      </dgm:t>
    </dgm:pt>
    <dgm:pt modelId="{9904B6F9-914B-43E4-B0C8-3AA6D7821FA4}" type="parTrans" cxnId="{453E7739-BC27-4059-A7E6-6B62A1963CF4}">
      <dgm:prSet/>
      <dgm:spPr/>
    </dgm:pt>
    <dgm:pt modelId="{C49D5BEC-AA9B-45F8-A2CB-AAD04E17C736}" type="sibTrans" cxnId="{453E7739-BC27-4059-A7E6-6B62A1963CF4}">
      <dgm:prSet/>
      <dgm:spPr/>
    </dgm:pt>
    <dgm:pt modelId="{D6CF3FDE-F570-43E7-96F6-276F689114EE}" type="pres">
      <dgm:prSet presAssocID="{D4429462-BBEB-4DC9-9B06-3DFB5BFBEFC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B896BE0-316E-4C4E-8504-54B1E6F8140B}" type="pres">
      <dgm:prSet presAssocID="{69AA8C94-5A6B-42DB-871C-C19BBE21A88D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37E16A-84D6-4DE7-BFDF-476F3657FEA0}" type="pres">
      <dgm:prSet presAssocID="{D4E32D12-2286-401C-9E74-EE5B82B32732}" presName="sibTrans" presStyleCnt="0"/>
      <dgm:spPr/>
    </dgm:pt>
    <dgm:pt modelId="{61749D6C-1801-4956-8FA3-0B9EC45DBFA4}" type="pres">
      <dgm:prSet presAssocID="{0295FA2A-D8FC-4E63-AD5B-1AE81BBDEFAE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38A5EC-AC40-4A59-90C2-1BB588CD8352}" type="pres">
      <dgm:prSet presAssocID="{A3805CB3-C1B6-4C0A-A8AB-BD60FF1455B7}" presName="sibTrans" presStyleCnt="0"/>
      <dgm:spPr/>
    </dgm:pt>
    <dgm:pt modelId="{5F403D84-E5B7-450E-B6EA-5583611BAD78}" type="pres">
      <dgm:prSet presAssocID="{885C3ED7-0CBB-4270-9612-AC1985840E7C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9951F3-93EE-41DA-82BD-DC42945932F0}" type="pres">
      <dgm:prSet presAssocID="{49EA6824-05CF-43E5-952B-FD7B1B0FADA5}" presName="sibTrans" presStyleCnt="0"/>
      <dgm:spPr/>
    </dgm:pt>
    <dgm:pt modelId="{B150E72A-C0D8-4D1F-9F9A-FC138CF78F4A}" type="pres">
      <dgm:prSet presAssocID="{01C6D9F6-CC7A-473A-A253-FBFAD1E31CBC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8E2AB1C-CAB1-4C9A-8AE6-9348368A7C1F}" type="pres">
      <dgm:prSet presAssocID="{FE09D512-6F31-4A2A-90CD-426281F4C07B}" presName="sibTrans" presStyleCnt="0"/>
      <dgm:spPr/>
    </dgm:pt>
    <dgm:pt modelId="{2D42F73E-0DC2-42C6-AECE-BCA9A8999227}" type="pres">
      <dgm:prSet presAssocID="{887BB1F7-A506-4CB9-8EFC-8ABB0C832CCD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A08A91-C3E5-43E6-ABB8-72B1E427336C}" type="pres">
      <dgm:prSet presAssocID="{C49D5BEC-AA9B-45F8-A2CB-AAD04E17C736}" presName="sibTrans" presStyleCnt="0"/>
      <dgm:spPr/>
    </dgm:pt>
    <dgm:pt modelId="{5DB512B6-DBD3-4FDD-9386-93DD39629E7B}" type="pres">
      <dgm:prSet presAssocID="{10FB07CA-877F-4644-B0B1-62294B37DF32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51B20E-B14C-4F1C-926F-26A82683E507}" type="pres">
      <dgm:prSet presAssocID="{8DDE37B1-69B2-4226-BA51-08D9565D952F}" presName="sibTrans" presStyleCnt="0"/>
      <dgm:spPr/>
    </dgm:pt>
    <dgm:pt modelId="{2CB20208-6D9A-4E03-8E33-7FF3AC29C1EE}" type="pres">
      <dgm:prSet presAssocID="{6E9B0C43-9636-4229-BC1B-68571FE4EBCD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84E8E8-208F-49EA-ABDC-218A9FC44239}" type="presOf" srcId="{887BB1F7-A506-4CB9-8EFC-8ABB0C832CCD}" destId="{2D42F73E-0DC2-42C6-AECE-BCA9A8999227}" srcOrd="0" destOrd="0" presId="urn:microsoft.com/office/officeart/2005/8/layout/default"/>
    <dgm:cxn modelId="{243786A1-09AB-4E6E-8C81-1D0B192AB6B1}" type="presOf" srcId="{885C3ED7-0CBB-4270-9612-AC1985840E7C}" destId="{5F403D84-E5B7-450E-B6EA-5583611BAD78}" srcOrd="0" destOrd="0" presId="urn:microsoft.com/office/officeart/2005/8/layout/default"/>
    <dgm:cxn modelId="{F3AFB636-76E0-4026-95F5-CD5C159DBFC8}" srcId="{D4429462-BBEB-4DC9-9B06-3DFB5BFBEFC2}" destId="{01C6D9F6-CC7A-473A-A253-FBFAD1E31CBC}" srcOrd="3" destOrd="0" parTransId="{8A411222-3AC9-458D-864B-4B053B93B2CE}" sibTransId="{FE09D512-6F31-4A2A-90CD-426281F4C07B}"/>
    <dgm:cxn modelId="{C058D34C-EEE0-4CE4-A54D-107AE79320CC}" type="presOf" srcId="{D4429462-BBEB-4DC9-9B06-3DFB5BFBEFC2}" destId="{D6CF3FDE-F570-43E7-96F6-276F689114EE}" srcOrd="0" destOrd="0" presId="urn:microsoft.com/office/officeart/2005/8/layout/default"/>
    <dgm:cxn modelId="{198CF2E0-1BAD-4405-915E-96060867333B}" srcId="{D4429462-BBEB-4DC9-9B06-3DFB5BFBEFC2}" destId="{10FB07CA-877F-4644-B0B1-62294B37DF32}" srcOrd="5" destOrd="0" parTransId="{57C777FC-81CA-4EA3-A3D2-7A0233FC3714}" sibTransId="{8DDE37B1-69B2-4226-BA51-08D9565D952F}"/>
    <dgm:cxn modelId="{24E1EB4E-0AE0-4690-BF63-17F5DC3624A4}" srcId="{D4429462-BBEB-4DC9-9B06-3DFB5BFBEFC2}" destId="{885C3ED7-0CBB-4270-9612-AC1985840E7C}" srcOrd="2" destOrd="0" parTransId="{9D627362-0F83-4663-9F9D-E3B806E7E01F}" sibTransId="{49EA6824-05CF-43E5-952B-FD7B1B0FADA5}"/>
    <dgm:cxn modelId="{F6DD4215-7DB5-4512-930E-1EEE4AFC852F}" type="presOf" srcId="{10FB07CA-877F-4644-B0B1-62294B37DF32}" destId="{5DB512B6-DBD3-4FDD-9386-93DD39629E7B}" srcOrd="0" destOrd="0" presId="urn:microsoft.com/office/officeart/2005/8/layout/default"/>
    <dgm:cxn modelId="{F0A57995-405D-40B1-98D9-B0111F53BF8C}" type="presOf" srcId="{01C6D9F6-CC7A-473A-A253-FBFAD1E31CBC}" destId="{B150E72A-C0D8-4D1F-9F9A-FC138CF78F4A}" srcOrd="0" destOrd="0" presId="urn:microsoft.com/office/officeart/2005/8/layout/default"/>
    <dgm:cxn modelId="{85D128A6-10E3-415F-A8A0-C35E3E4ACD84}" srcId="{D4429462-BBEB-4DC9-9B06-3DFB5BFBEFC2}" destId="{69AA8C94-5A6B-42DB-871C-C19BBE21A88D}" srcOrd="0" destOrd="0" parTransId="{EAC7B817-1EF7-4762-89CF-DD6EF7730016}" sibTransId="{D4E32D12-2286-401C-9E74-EE5B82B32732}"/>
    <dgm:cxn modelId="{5B469E9D-FCB8-4CBC-A995-7A4F66B66DB5}" srcId="{D4429462-BBEB-4DC9-9B06-3DFB5BFBEFC2}" destId="{6E9B0C43-9636-4229-BC1B-68571FE4EBCD}" srcOrd="6" destOrd="0" parTransId="{7E820837-53F3-471E-8744-C8596C03B7C1}" sibTransId="{F401E169-DF9A-4616-9DAE-6903947B5D8F}"/>
    <dgm:cxn modelId="{453E7739-BC27-4059-A7E6-6B62A1963CF4}" srcId="{D4429462-BBEB-4DC9-9B06-3DFB5BFBEFC2}" destId="{887BB1F7-A506-4CB9-8EFC-8ABB0C832CCD}" srcOrd="4" destOrd="0" parTransId="{9904B6F9-914B-43E4-B0C8-3AA6D7821FA4}" sibTransId="{C49D5BEC-AA9B-45F8-A2CB-AAD04E17C736}"/>
    <dgm:cxn modelId="{BAB5B6AB-B0FA-4920-B369-C95B6DA89263}" type="presOf" srcId="{6E9B0C43-9636-4229-BC1B-68571FE4EBCD}" destId="{2CB20208-6D9A-4E03-8E33-7FF3AC29C1EE}" srcOrd="0" destOrd="0" presId="urn:microsoft.com/office/officeart/2005/8/layout/default"/>
    <dgm:cxn modelId="{B3A1238A-15BC-4020-8536-12B4A45CA7A9}" type="presOf" srcId="{0295FA2A-D8FC-4E63-AD5B-1AE81BBDEFAE}" destId="{61749D6C-1801-4956-8FA3-0B9EC45DBFA4}" srcOrd="0" destOrd="0" presId="urn:microsoft.com/office/officeart/2005/8/layout/default"/>
    <dgm:cxn modelId="{E6527817-04EE-421F-9580-62256BB4A950}" srcId="{D4429462-BBEB-4DC9-9B06-3DFB5BFBEFC2}" destId="{0295FA2A-D8FC-4E63-AD5B-1AE81BBDEFAE}" srcOrd="1" destOrd="0" parTransId="{24A7B83E-75B3-4BB1-90B6-BF289399ADD6}" sibTransId="{A3805CB3-C1B6-4C0A-A8AB-BD60FF1455B7}"/>
    <dgm:cxn modelId="{DA62305C-B587-4F55-AA12-E193E2DCD965}" type="presOf" srcId="{69AA8C94-5A6B-42DB-871C-C19BBE21A88D}" destId="{EB896BE0-316E-4C4E-8504-54B1E6F8140B}" srcOrd="0" destOrd="0" presId="urn:microsoft.com/office/officeart/2005/8/layout/default"/>
    <dgm:cxn modelId="{3F7A9476-F3A6-4130-A92B-BB8C3A7DB5D8}" type="presParOf" srcId="{D6CF3FDE-F570-43E7-96F6-276F689114EE}" destId="{EB896BE0-316E-4C4E-8504-54B1E6F8140B}" srcOrd="0" destOrd="0" presId="urn:microsoft.com/office/officeart/2005/8/layout/default"/>
    <dgm:cxn modelId="{E5A1A635-E072-4F14-8577-0A62D099273F}" type="presParOf" srcId="{D6CF3FDE-F570-43E7-96F6-276F689114EE}" destId="{B137E16A-84D6-4DE7-BFDF-476F3657FEA0}" srcOrd="1" destOrd="0" presId="urn:microsoft.com/office/officeart/2005/8/layout/default"/>
    <dgm:cxn modelId="{8E101783-7AAE-4AC4-A3D1-9DB9BD2B3BC4}" type="presParOf" srcId="{D6CF3FDE-F570-43E7-96F6-276F689114EE}" destId="{61749D6C-1801-4956-8FA3-0B9EC45DBFA4}" srcOrd="2" destOrd="0" presId="urn:microsoft.com/office/officeart/2005/8/layout/default"/>
    <dgm:cxn modelId="{AD124C6A-4257-45C6-A0A6-F9817638B9E6}" type="presParOf" srcId="{D6CF3FDE-F570-43E7-96F6-276F689114EE}" destId="{4B38A5EC-AC40-4A59-90C2-1BB588CD8352}" srcOrd="3" destOrd="0" presId="urn:microsoft.com/office/officeart/2005/8/layout/default"/>
    <dgm:cxn modelId="{904B2D40-DCC3-4224-B95E-50621EF08874}" type="presParOf" srcId="{D6CF3FDE-F570-43E7-96F6-276F689114EE}" destId="{5F403D84-E5B7-450E-B6EA-5583611BAD78}" srcOrd="4" destOrd="0" presId="urn:microsoft.com/office/officeart/2005/8/layout/default"/>
    <dgm:cxn modelId="{580F6CEA-19AB-46FC-B332-011F210DAFF9}" type="presParOf" srcId="{D6CF3FDE-F570-43E7-96F6-276F689114EE}" destId="{619951F3-93EE-41DA-82BD-DC42945932F0}" srcOrd="5" destOrd="0" presId="urn:microsoft.com/office/officeart/2005/8/layout/default"/>
    <dgm:cxn modelId="{87CD8E7E-B7DF-4580-ADB8-7B01613A37CC}" type="presParOf" srcId="{D6CF3FDE-F570-43E7-96F6-276F689114EE}" destId="{B150E72A-C0D8-4D1F-9F9A-FC138CF78F4A}" srcOrd="6" destOrd="0" presId="urn:microsoft.com/office/officeart/2005/8/layout/default"/>
    <dgm:cxn modelId="{B091A9CC-EBED-433A-A37A-1957AF35EA90}" type="presParOf" srcId="{D6CF3FDE-F570-43E7-96F6-276F689114EE}" destId="{28E2AB1C-CAB1-4C9A-8AE6-9348368A7C1F}" srcOrd="7" destOrd="0" presId="urn:microsoft.com/office/officeart/2005/8/layout/default"/>
    <dgm:cxn modelId="{4866034B-781C-4C0B-A806-4C5C660D64E2}" type="presParOf" srcId="{D6CF3FDE-F570-43E7-96F6-276F689114EE}" destId="{2D42F73E-0DC2-42C6-AECE-BCA9A8999227}" srcOrd="8" destOrd="0" presId="urn:microsoft.com/office/officeart/2005/8/layout/default"/>
    <dgm:cxn modelId="{9559755B-BA9F-4F19-A2F1-BE88F28AEC4E}" type="presParOf" srcId="{D6CF3FDE-F570-43E7-96F6-276F689114EE}" destId="{4DA08A91-C3E5-43E6-ABB8-72B1E427336C}" srcOrd="9" destOrd="0" presId="urn:microsoft.com/office/officeart/2005/8/layout/default"/>
    <dgm:cxn modelId="{0D088548-9235-43FC-A738-B71C17B41F06}" type="presParOf" srcId="{D6CF3FDE-F570-43E7-96F6-276F689114EE}" destId="{5DB512B6-DBD3-4FDD-9386-93DD39629E7B}" srcOrd="10" destOrd="0" presId="urn:microsoft.com/office/officeart/2005/8/layout/default"/>
    <dgm:cxn modelId="{6B4DFB82-667B-4075-9E86-9DB78B13E0F3}" type="presParOf" srcId="{D6CF3FDE-F570-43E7-96F6-276F689114EE}" destId="{FC51B20E-B14C-4F1C-926F-26A82683E507}" srcOrd="11" destOrd="0" presId="urn:microsoft.com/office/officeart/2005/8/layout/default"/>
    <dgm:cxn modelId="{63DA85D1-F8DB-4AFD-A5C1-4FBAAF1E4AEC}" type="presParOf" srcId="{D6CF3FDE-F570-43E7-96F6-276F689114EE}" destId="{2CB20208-6D9A-4E03-8E33-7FF3AC29C1EE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E86CAB1-8582-487C-8AD1-904D3016B171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6CA2C83-6A24-4DDF-BA7F-AB2147F2F172}">
      <dgm:prSet phldrT="[Text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Don’t read books</a:t>
          </a:r>
          <a:endParaRPr lang="en-US" dirty="0"/>
        </a:p>
      </dgm:t>
    </dgm:pt>
    <dgm:pt modelId="{EA50E634-1557-46AA-9E99-7EC5CBD25688}" type="parTrans" cxnId="{249D1C60-6066-48E4-8809-9F4A378FB9C0}">
      <dgm:prSet/>
      <dgm:spPr/>
      <dgm:t>
        <a:bodyPr/>
        <a:lstStyle/>
        <a:p>
          <a:endParaRPr lang="en-US"/>
        </a:p>
      </dgm:t>
    </dgm:pt>
    <dgm:pt modelId="{C43ECA7F-02A0-4F54-8C3C-38CF4AC3B7D1}" type="sibTrans" cxnId="{249D1C60-6066-48E4-8809-9F4A378FB9C0}">
      <dgm:prSet/>
      <dgm:spPr/>
      <dgm:t>
        <a:bodyPr/>
        <a:lstStyle/>
        <a:p>
          <a:endParaRPr lang="en-US"/>
        </a:p>
      </dgm:t>
    </dgm:pt>
    <dgm:pt modelId="{304661FB-B7A7-4435-AFC2-A0D4BC60FF56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Want instant results and constant feedback</a:t>
          </a:r>
          <a:endParaRPr lang="en-US" dirty="0"/>
        </a:p>
      </dgm:t>
    </dgm:pt>
    <dgm:pt modelId="{14CED597-A171-4922-B091-7E98EA18B453}" type="parTrans" cxnId="{1FE12907-8660-40D4-9875-E9CBFF66483F}">
      <dgm:prSet/>
      <dgm:spPr/>
      <dgm:t>
        <a:bodyPr/>
        <a:lstStyle/>
        <a:p>
          <a:endParaRPr lang="en-US"/>
        </a:p>
      </dgm:t>
    </dgm:pt>
    <dgm:pt modelId="{77A56C79-BC4A-4928-970A-C00CDF8B8283}" type="sibTrans" cxnId="{1FE12907-8660-40D4-9875-E9CBFF66483F}">
      <dgm:prSet/>
      <dgm:spPr/>
      <dgm:t>
        <a:bodyPr/>
        <a:lstStyle/>
        <a:p>
          <a:endParaRPr lang="en-US"/>
        </a:p>
      </dgm:t>
    </dgm:pt>
    <dgm:pt modelId="{719FE88A-0E27-49F7-8D0C-C2BBEA359EB5}">
      <dgm:prSet phldrT="[Text]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r>
            <a:rPr lang="en-US" dirty="0" smtClean="0"/>
            <a:t>Shorter attention span</a:t>
          </a:r>
          <a:endParaRPr lang="en-US" dirty="0"/>
        </a:p>
      </dgm:t>
    </dgm:pt>
    <dgm:pt modelId="{D27870EE-A600-4FCA-BB67-1A598542912E}" type="parTrans" cxnId="{CC398845-1C18-4264-BF45-68457D38542B}">
      <dgm:prSet/>
      <dgm:spPr/>
      <dgm:t>
        <a:bodyPr/>
        <a:lstStyle/>
        <a:p>
          <a:endParaRPr lang="en-US"/>
        </a:p>
      </dgm:t>
    </dgm:pt>
    <dgm:pt modelId="{14544B65-55EE-412C-AA64-ED6949028976}" type="sibTrans" cxnId="{CC398845-1C18-4264-BF45-68457D38542B}">
      <dgm:prSet/>
      <dgm:spPr/>
      <dgm:t>
        <a:bodyPr/>
        <a:lstStyle/>
        <a:p>
          <a:endParaRPr lang="en-US"/>
        </a:p>
      </dgm:t>
    </dgm:pt>
    <dgm:pt modelId="{55967069-4067-43BC-99B4-E00A3A5088AE}">
      <dgm:prSet phldrT="[Text]"/>
      <dgm:spPr>
        <a:solidFill>
          <a:srgbClr val="7030A0"/>
        </a:solidFill>
      </dgm:spPr>
      <dgm:t>
        <a:bodyPr/>
        <a:lstStyle/>
        <a:p>
          <a:r>
            <a:rPr lang="en-US" dirty="0" smtClean="0"/>
            <a:t>Flexibility is Key</a:t>
          </a:r>
          <a:endParaRPr lang="en-US" dirty="0"/>
        </a:p>
      </dgm:t>
    </dgm:pt>
    <dgm:pt modelId="{1E46A79D-56EC-4B90-B5C0-7423C8948E9F}" type="parTrans" cxnId="{B901B02D-8C78-48BC-8588-8F189C5F3095}">
      <dgm:prSet/>
      <dgm:spPr/>
      <dgm:t>
        <a:bodyPr/>
        <a:lstStyle/>
        <a:p>
          <a:endParaRPr lang="en-US"/>
        </a:p>
      </dgm:t>
    </dgm:pt>
    <dgm:pt modelId="{C07811FB-5812-49F5-98F1-5BE17505069C}" type="sibTrans" cxnId="{B901B02D-8C78-48BC-8588-8F189C5F3095}">
      <dgm:prSet/>
      <dgm:spPr/>
      <dgm:t>
        <a:bodyPr/>
        <a:lstStyle/>
        <a:p>
          <a:endParaRPr lang="en-US"/>
        </a:p>
      </dgm:t>
    </dgm:pt>
    <dgm:pt modelId="{316B25F7-DED8-40D6-B8D3-8D8CA52826F5}">
      <dgm:prSet phldrT="[Text]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en-US" dirty="0" smtClean="0"/>
            <a:t>Socially Inclined</a:t>
          </a:r>
          <a:endParaRPr lang="en-US" dirty="0"/>
        </a:p>
      </dgm:t>
    </dgm:pt>
    <dgm:pt modelId="{23A3DE03-37EC-4F74-A4B9-DBA7567698E3}" type="parTrans" cxnId="{177D9F75-3756-4B75-B048-1B7A5FA77560}">
      <dgm:prSet/>
      <dgm:spPr/>
      <dgm:t>
        <a:bodyPr/>
        <a:lstStyle/>
        <a:p>
          <a:endParaRPr lang="en-US"/>
        </a:p>
      </dgm:t>
    </dgm:pt>
    <dgm:pt modelId="{811E4328-84F8-467C-9994-D7CF201FE2B4}" type="sibTrans" cxnId="{177D9F75-3756-4B75-B048-1B7A5FA77560}">
      <dgm:prSet/>
      <dgm:spPr/>
      <dgm:t>
        <a:bodyPr/>
        <a:lstStyle/>
        <a:p>
          <a:endParaRPr lang="en-US"/>
        </a:p>
      </dgm:t>
    </dgm:pt>
    <dgm:pt modelId="{CE0A0DA5-CFE0-45F7-B13C-802C57790B99}">
      <dgm:prSet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en-US" dirty="0" smtClean="0"/>
            <a:t>Lack critical thinking </a:t>
          </a:r>
          <a:endParaRPr lang="en-US" dirty="0"/>
        </a:p>
      </dgm:t>
    </dgm:pt>
    <dgm:pt modelId="{D6CD80F5-6A88-4A6E-A4DA-46C82E5F5FA3}" type="parTrans" cxnId="{6E5992AF-F944-4932-BF2F-6E83D2DE7819}">
      <dgm:prSet/>
      <dgm:spPr/>
      <dgm:t>
        <a:bodyPr/>
        <a:lstStyle/>
        <a:p>
          <a:endParaRPr lang="en-US"/>
        </a:p>
      </dgm:t>
    </dgm:pt>
    <dgm:pt modelId="{BA8CB1B7-3073-4606-BBAB-7251DFD5310D}" type="sibTrans" cxnId="{6E5992AF-F944-4932-BF2F-6E83D2DE7819}">
      <dgm:prSet/>
      <dgm:spPr/>
      <dgm:t>
        <a:bodyPr/>
        <a:lstStyle/>
        <a:p>
          <a:endParaRPr lang="en-US"/>
        </a:p>
      </dgm:t>
    </dgm:pt>
    <dgm:pt modelId="{9C870CC8-CCFA-41AB-9226-A50A0DBC945F}" type="pres">
      <dgm:prSet presAssocID="{EE86CAB1-8582-487C-8AD1-904D3016B1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80DE979-5D1E-41F5-A5AC-3D4AE5C71EE1}" type="pres">
      <dgm:prSet presAssocID="{D6CA2C83-6A24-4DDF-BA7F-AB2147F2F172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84AB91D-7B6E-43E5-B1F9-D7CEEC36976C}" type="pres">
      <dgm:prSet presAssocID="{C43ECA7F-02A0-4F54-8C3C-38CF4AC3B7D1}" presName="sibTrans" presStyleCnt="0"/>
      <dgm:spPr/>
    </dgm:pt>
    <dgm:pt modelId="{6E19E756-5144-4047-88E2-6BD5C602354A}" type="pres">
      <dgm:prSet presAssocID="{CE0A0DA5-CFE0-45F7-B13C-802C57790B99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DA45FF-CCC4-43AF-A0E3-5C6B01DA391B}" type="pres">
      <dgm:prSet presAssocID="{BA8CB1B7-3073-4606-BBAB-7251DFD5310D}" presName="sibTrans" presStyleCnt="0"/>
      <dgm:spPr/>
    </dgm:pt>
    <dgm:pt modelId="{DF026A56-B79B-4F84-8944-93A69FB876E3}" type="pres">
      <dgm:prSet presAssocID="{304661FB-B7A7-4435-AFC2-A0D4BC60FF56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B2808FF-F32B-43E6-868F-8EC507C30961}" type="pres">
      <dgm:prSet presAssocID="{77A56C79-BC4A-4928-970A-C00CDF8B8283}" presName="sibTrans" presStyleCnt="0"/>
      <dgm:spPr/>
    </dgm:pt>
    <dgm:pt modelId="{C6FFC092-1B53-428A-9922-0EF7AAE5B064}" type="pres">
      <dgm:prSet presAssocID="{719FE88A-0E27-49F7-8D0C-C2BBEA359EB5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302E5E-8C9E-45DC-A950-C8F17D2B1CCF}" type="pres">
      <dgm:prSet presAssocID="{14544B65-55EE-412C-AA64-ED6949028976}" presName="sibTrans" presStyleCnt="0"/>
      <dgm:spPr/>
    </dgm:pt>
    <dgm:pt modelId="{B9AA08E7-1EFF-45AA-8F1D-737ADC8EAD5C}" type="pres">
      <dgm:prSet presAssocID="{55967069-4067-43BC-99B4-E00A3A5088AE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BD8376-4FC3-4F13-877D-FA1A5A751207}" type="pres">
      <dgm:prSet presAssocID="{C07811FB-5812-49F5-98F1-5BE17505069C}" presName="sibTrans" presStyleCnt="0"/>
      <dgm:spPr/>
    </dgm:pt>
    <dgm:pt modelId="{60980D89-51B0-4B18-9985-015735A15D6F}" type="pres">
      <dgm:prSet presAssocID="{316B25F7-DED8-40D6-B8D3-8D8CA52826F5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E5992AF-F944-4932-BF2F-6E83D2DE7819}" srcId="{EE86CAB1-8582-487C-8AD1-904D3016B171}" destId="{CE0A0DA5-CFE0-45F7-B13C-802C57790B99}" srcOrd="1" destOrd="0" parTransId="{D6CD80F5-6A88-4A6E-A4DA-46C82E5F5FA3}" sibTransId="{BA8CB1B7-3073-4606-BBAB-7251DFD5310D}"/>
    <dgm:cxn modelId="{A341EF1A-0BAE-4FB5-B60A-E173B0D5248D}" type="presOf" srcId="{316B25F7-DED8-40D6-B8D3-8D8CA52826F5}" destId="{60980D89-51B0-4B18-9985-015735A15D6F}" srcOrd="0" destOrd="0" presId="urn:microsoft.com/office/officeart/2005/8/layout/hList6"/>
    <dgm:cxn modelId="{761E90B4-7D08-4EB0-9A05-C54A3F4D1875}" type="presOf" srcId="{EE86CAB1-8582-487C-8AD1-904D3016B171}" destId="{9C870CC8-CCFA-41AB-9226-A50A0DBC945F}" srcOrd="0" destOrd="0" presId="urn:microsoft.com/office/officeart/2005/8/layout/hList6"/>
    <dgm:cxn modelId="{90E7BA63-84BA-4954-91AC-2F5068591D39}" type="presOf" srcId="{CE0A0DA5-CFE0-45F7-B13C-802C57790B99}" destId="{6E19E756-5144-4047-88E2-6BD5C602354A}" srcOrd="0" destOrd="0" presId="urn:microsoft.com/office/officeart/2005/8/layout/hList6"/>
    <dgm:cxn modelId="{1FE12907-8660-40D4-9875-E9CBFF66483F}" srcId="{EE86CAB1-8582-487C-8AD1-904D3016B171}" destId="{304661FB-B7A7-4435-AFC2-A0D4BC60FF56}" srcOrd="2" destOrd="0" parTransId="{14CED597-A171-4922-B091-7E98EA18B453}" sibTransId="{77A56C79-BC4A-4928-970A-C00CDF8B8283}"/>
    <dgm:cxn modelId="{E058BCCA-4A7E-4C41-BF0F-5D85CAC80176}" type="presOf" srcId="{304661FB-B7A7-4435-AFC2-A0D4BC60FF56}" destId="{DF026A56-B79B-4F84-8944-93A69FB876E3}" srcOrd="0" destOrd="0" presId="urn:microsoft.com/office/officeart/2005/8/layout/hList6"/>
    <dgm:cxn modelId="{B901B02D-8C78-48BC-8588-8F189C5F3095}" srcId="{EE86CAB1-8582-487C-8AD1-904D3016B171}" destId="{55967069-4067-43BC-99B4-E00A3A5088AE}" srcOrd="4" destOrd="0" parTransId="{1E46A79D-56EC-4B90-B5C0-7423C8948E9F}" sibTransId="{C07811FB-5812-49F5-98F1-5BE17505069C}"/>
    <dgm:cxn modelId="{5C3E3BC8-48CA-43FD-8D51-ED2E6449355D}" type="presOf" srcId="{55967069-4067-43BC-99B4-E00A3A5088AE}" destId="{B9AA08E7-1EFF-45AA-8F1D-737ADC8EAD5C}" srcOrd="0" destOrd="0" presId="urn:microsoft.com/office/officeart/2005/8/layout/hList6"/>
    <dgm:cxn modelId="{CC398845-1C18-4264-BF45-68457D38542B}" srcId="{EE86CAB1-8582-487C-8AD1-904D3016B171}" destId="{719FE88A-0E27-49F7-8D0C-C2BBEA359EB5}" srcOrd="3" destOrd="0" parTransId="{D27870EE-A600-4FCA-BB67-1A598542912E}" sibTransId="{14544B65-55EE-412C-AA64-ED6949028976}"/>
    <dgm:cxn modelId="{177D9F75-3756-4B75-B048-1B7A5FA77560}" srcId="{EE86CAB1-8582-487C-8AD1-904D3016B171}" destId="{316B25F7-DED8-40D6-B8D3-8D8CA52826F5}" srcOrd="5" destOrd="0" parTransId="{23A3DE03-37EC-4F74-A4B9-DBA7567698E3}" sibTransId="{811E4328-84F8-467C-9994-D7CF201FE2B4}"/>
    <dgm:cxn modelId="{0C3097ED-B9CD-4A9E-8B57-9FE0DB5D7375}" type="presOf" srcId="{719FE88A-0E27-49F7-8D0C-C2BBEA359EB5}" destId="{C6FFC092-1B53-428A-9922-0EF7AAE5B064}" srcOrd="0" destOrd="0" presId="urn:microsoft.com/office/officeart/2005/8/layout/hList6"/>
    <dgm:cxn modelId="{249D1C60-6066-48E4-8809-9F4A378FB9C0}" srcId="{EE86CAB1-8582-487C-8AD1-904D3016B171}" destId="{D6CA2C83-6A24-4DDF-BA7F-AB2147F2F172}" srcOrd="0" destOrd="0" parTransId="{EA50E634-1557-46AA-9E99-7EC5CBD25688}" sibTransId="{C43ECA7F-02A0-4F54-8C3C-38CF4AC3B7D1}"/>
    <dgm:cxn modelId="{87577FFE-5506-4407-8EF1-9FBFBAC53780}" type="presOf" srcId="{D6CA2C83-6A24-4DDF-BA7F-AB2147F2F172}" destId="{F80DE979-5D1E-41F5-A5AC-3D4AE5C71EE1}" srcOrd="0" destOrd="0" presId="urn:microsoft.com/office/officeart/2005/8/layout/hList6"/>
    <dgm:cxn modelId="{8FCF67F3-694D-4431-84E8-4FEB0DFAB1A1}" type="presParOf" srcId="{9C870CC8-CCFA-41AB-9226-A50A0DBC945F}" destId="{F80DE979-5D1E-41F5-A5AC-3D4AE5C71EE1}" srcOrd="0" destOrd="0" presId="urn:microsoft.com/office/officeart/2005/8/layout/hList6"/>
    <dgm:cxn modelId="{4F8D7F57-6EFA-4B1F-9ED2-8A98EF50D597}" type="presParOf" srcId="{9C870CC8-CCFA-41AB-9226-A50A0DBC945F}" destId="{584AB91D-7B6E-43E5-B1F9-D7CEEC36976C}" srcOrd="1" destOrd="0" presId="urn:microsoft.com/office/officeart/2005/8/layout/hList6"/>
    <dgm:cxn modelId="{136828D5-E9AD-4D9B-A0F9-18775621E6FC}" type="presParOf" srcId="{9C870CC8-CCFA-41AB-9226-A50A0DBC945F}" destId="{6E19E756-5144-4047-88E2-6BD5C602354A}" srcOrd="2" destOrd="0" presId="urn:microsoft.com/office/officeart/2005/8/layout/hList6"/>
    <dgm:cxn modelId="{9FBD6C1D-6CF3-40B7-A391-6C545640B6B2}" type="presParOf" srcId="{9C870CC8-CCFA-41AB-9226-A50A0DBC945F}" destId="{F1DA45FF-CCC4-43AF-A0E3-5C6B01DA391B}" srcOrd="3" destOrd="0" presId="urn:microsoft.com/office/officeart/2005/8/layout/hList6"/>
    <dgm:cxn modelId="{41F1C440-5339-42EF-B1B6-5D33A144DAFC}" type="presParOf" srcId="{9C870CC8-CCFA-41AB-9226-A50A0DBC945F}" destId="{DF026A56-B79B-4F84-8944-93A69FB876E3}" srcOrd="4" destOrd="0" presId="urn:microsoft.com/office/officeart/2005/8/layout/hList6"/>
    <dgm:cxn modelId="{9E1ED497-075F-4AE2-A5D4-3238D7F6572B}" type="presParOf" srcId="{9C870CC8-CCFA-41AB-9226-A50A0DBC945F}" destId="{7B2808FF-F32B-43E6-868F-8EC507C30961}" srcOrd="5" destOrd="0" presId="urn:microsoft.com/office/officeart/2005/8/layout/hList6"/>
    <dgm:cxn modelId="{FE9272C1-3796-43AF-BA6D-BDF579BEBC5B}" type="presParOf" srcId="{9C870CC8-CCFA-41AB-9226-A50A0DBC945F}" destId="{C6FFC092-1B53-428A-9922-0EF7AAE5B064}" srcOrd="6" destOrd="0" presId="urn:microsoft.com/office/officeart/2005/8/layout/hList6"/>
    <dgm:cxn modelId="{9FB4D1F0-C285-49AE-87A6-1CDF92256E76}" type="presParOf" srcId="{9C870CC8-CCFA-41AB-9226-A50A0DBC945F}" destId="{F6302E5E-8C9E-45DC-A950-C8F17D2B1CCF}" srcOrd="7" destOrd="0" presId="urn:microsoft.com/office/officeart/2005/8/layout/hList6"/>
    <dgm:cxn modelId="{1FACD632-12C9-49B2-9F63-B11678CA4F6B}" type="presParOf" srcId="{9C870CC8-CCFA-41AB-9226-A50A0DBC945F}" destId="{B9AA08E7-1EFF-45AA-8F1D-737ADC8EAD5C}" srcOrd="8" destOrd="0" presId="urn:microsoft.com/office/officeart/2005/8/layout/hList6"/>
    <dgm:cxn modelId="{99D385D9-7D36-4000-A863-930F0DEFCAC2}" type="presParOf" srcId="{9C870CC8-CCFA-41AB-9226-A50A0DBC945F}" destId="{4BBD8376-4FC3-4F13-877D-FA1A5A751207}" srcOrd="9" destOrd="0" presId="urn:microsoft.com/office/officeart/2005/8/layout/hList6"/>
    <dgm:cxn modelId="{76AC2D46-85AE-46AA-B633-DEAC0C6538F0}" type="presParOf" srcId="{9C870CC8-CCFA-41AB-9226-A50A0DBC945F}" destId="{60980D89-51B0-4B18-9985-015735A15D6F}" srcOrd="10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0ADF67-229D-4FEF-BD29-C0EC68C0F2CE}">
      <dsp:nvSpPr>
        <dsp:cNvPr id="0" name=""/>
        <dsp:cNvSpPr/>
      </dsp:nvSpPr>
      <dsp:spPr>
        <a:xfrm rot="5400000">
          <a:off x="-243998" y="245734"/>
          <a:ext cx="1626654" cy="1138657"/>
        </a:xfrm>
        <a:prstGeom prst="chevron">
          <a:avLst/>
        </a:prstGeom>
        <a:solidFill>
          <a:schemeClr val="tx2">
            <a:lumMod val="5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1</a:t>
          </a:r>
          <a:endParaRPr lang="en-US" sz="3300" kern="1200" dirty="0"/>
        </a:p>
      </dsp:txBody>
      <dsp:txXfrm rot="-5400000">
        <a:off x="1" y="571065"/>
        <a:ext cx="1138657" cy="487997"/>
      </dsp:txXfrm>
    </dsp:sp>
    <dsp:sp modelId="{8119E434-41DD-497F-A4D6-1F12D9A9E8EF}">
      <dsp:nvSpPr>
        <dsp:cNvPr id="0" name=""/>
        <dsp:cNvSpPr/>
      </dsp:nvSpPr>
      <dsp:spPr>
        <a:xfrm rot="5400000">
          <a:off x="3279166" y="-2138771"/>
          <a:ext cx="1057325" cy="53383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400" kern="1200" dirty="0" smtClean="0"/>
            <a:t>Characteristics</a:t>
          </a:r>
          <a:endParaRPr lang="en-US" sz="3400" kern="1200" dirty="0"/>
        </a:p>
      </dsp:txBody>
      <dsp:txXfrm rot="-5400000">
        <a:off x="1138658" y="53351"/>
        <a:ext cx="5286728" cy="954097"/>
      </dsp:txXfrm>
    </dsp:sp>
    <dsp:sp modelId="{9C4ECB02-0130-4E0F-9348-698D1481BF7B}">
      <dsp:nvSpPr>
        <dsp:cNvPr id="0" name=""/>
        <dsp:cNvSpPr/>
      </dsp:nvSpPr>
      <dsp:spPr>
        <a:xfrm rot="5400000">
          <a:off x="-243998" y="1678571"/>
          <a:ext cx="1626654" cy="1138657"/>
        </a:xfrm>
        <a:prstGeom prst="chevron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2</a:t>
          </a:r>
          <a:endParaRPr lang="en-US" sz="3300" kern="1200" dirty="0"/>
        </a:p>
      </dsp:txBody>
      <dsp:txXfrm rot="-5400000">
        <a:off x="1" y="2003902"/>
        <a:ext cx="1138657" cy="487997"/>
      </dsp:txXfrm>
    </dsp:sp>
    <dsp:sp modelId="{AF712EEA-E87B-4E6F-8963-30243DF4F82B}">
      <dsp:nvSpPr>
        <dsp:cNvPr id="0" name=""/>
        <dsp:cNvSpPr/>
      </dsp:nvSpPr>
      <dsp:spPr>
        <a:xfrm rot="5400000">
          <a:off x="3279166" y="-705935"/>
          <a:ext cx="1057325" cy="53383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400" kern="1200" dirty="0" smtClean="0"/>
            <a:t>Values &amp; Workplace</a:t>
          </a:r>
          <a:endParaRPr lang="en-US" sz="3400" kern="1200" dirty="0"/>
        </a:p>
      </dsp:txBody>
      <dsp:txXfrm rot="-5400000">
        <a:off x="1138658" y="1486187"/>
        <a:ext cx="5286728" cy="954097"/>
      </dsp:txXfrm>
    </dsp:sp>
    <dsp:sp modelId="{7AD39F8D-86B2-4C85-9B05-DE719E2FE54B}">
      <dsp:nvSpPr>
        <dsp:cNvPr id="0" name=""/>
        <dsp:cNvSpPr/>
      </dsp:nvSpPr>
      <dsp:spPr>
        <a:xfrm rot="5400000">
          <a:off x="-243998" y="3111407"/>
          <a:ext cx="1626654" cy="113865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300" kern="1200" dirty="0" smtClean="0"/>
            <a:t>3</a:t>
          </a:r>
          <a:endParaRPr lang="en-US" sz="3300" kern="1200" dirty="0"/>
        </a:p>
      </dsp:txBody>
      <dsp:txXfrm rot="-5400000">
        <a:off x="1" y="3436738"/>
        <a:ext cx="1138657" cy="487997"/>
      </dsp:txXfrm>
    </dsp:sp>
    <dsp:sp modelId="{62E97AA5-D5CD-4419-8B91-B4DE10C8267C}">
      <dsp:nvSpPr>
        <dsp:cNvPr id="0" name=""/>
        <dsp:cNvSpPr/>
      </dsp:nvSpPr>
      <dsp:spPr>
        <a:xfrm rot="5400000">
          <a:off x="3279166" y="726900"/>
          <a:ext cx="1057325" cy="53383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400" kern="1200" dirty="0" smtClean="0"/>
            <a:t>Development Implications</a:t>
          </a:r>
          <a:endParaRPr lang="en-US" sz="3400" kern="1200" dirty="0"/>
        </a:p>
      </dsp:txBody>
      <dsp:txXfrm rot="-5400000">
        <a:off x="1138658" y="2919022"/>
        <a:ext cx="5286728" cy="9540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939E7-1922-4D7E-A7C6-E49F11441422}">
      <dsp:nvSpPr>
        <dsp:cNvPr id="0" name=""/>
        <dsp:cNvSpPr/>
      </dsp:nvSpPr>
      <dsp:spPr>
        <a:xfrm>
          <a:off x="0" y="0"/>
          <a:ext cx="1655712" cy="51816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Traditionalist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Pre 1946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75 million</a:t>
          </a:r>
          <a:endParaRPr lang="en-US" sz="1700" kern="1200" dirty="0"/>
        </a:p>
      </dsp:txBody>
      <dsp:txXfrm>
        <a:off x="0" y="2072640"/>
        <a:ext cx="1655712" cy="2072640"/>
      </dsp:txXfrm>
    </dsp:sp>
    <dsp:sp modelId="{E78834DA-108F-4024-AB6C-8FFC84C7C492}">
      <dsp:nvSpPr>
        <dsp:cNvPr id="0" name=""/>
        <dsp:cNvSpPr/>
      </dsp:nvSpPr>
      <dsp:spPr>
        <a:xfrm>
          <a:off x="49671" y="310896"/>
          <a:ext cx="1556370" cy="172547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5908CE-B5AB-4FE1-ACD2-D40E20D0704F}">
      <dsp:nvSpPr>
        <dsp:cNvPr id="0" name=""/>
        <dsp:cNvSpPr/>
      </dsp:nvSpPr>
      <dsp:spPr>
        <a:xfrm>
          <a:off x="1705384" y="0"/>
          <a:ext cx="1655712" cy="5181600"/>
        </a:xfrm>
        <a:prstGeom prst="roundRect">
          <a:avLst>
            <a:gd name="adj" fmla="val 10000"/>
          </a:avLst>
        </a:prstGeom>
        <a:solidFill>
          <a:srgbClr val="25629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Baby Boomer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946-1964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80 million</a:t>
          </a:r>
          <a:endParaRPr lang="en-US" sz="1700" kern="1200" dirty="0"/>
        </a:p>
      </dsp:txBody>
      <dsp:txXfrm>
        <a:off x="1705384" y="2072640"/>
        <a:ext cx="1655712" cy="2072640"/>
      </dsp:txXfrm>
    </dsp:sp>
    <dsp:sp modelId="{61A0556F-B0CC-4F38-AB41-3450E5BA65F8}">
      <dsp:nvSpPr>
        <dsp:cNvPr id="0" name=""/>
        <dsp:cNvSpPr/>
      </dsp:nvSpPr>
      <dsp:spPr>
        <a:xfrm>
          <a:off x="1755055" y="310896"/>
          <a:ext cx="1556370" cy="1725472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3000" r="-3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D03DD4-5E4E-4AFB-8F37-E609C47DC176}">
      <dsp:nvSpPr>
        <dsp:cNvPr id="0" name=""/>
        <dsp:cNvSpPr/>
      </dsp:nvSpPr>
      <dsp:spPr>
        <a:xfrm>
          <a:off x="3410768" y="0"/>
          <a:ext cx="1655712" cy="5181600"/>
        </a:xfrm>
        <a:prstGeom prst="roundRect">
          <a:avLst>
            <a:gd name="adj" fmla="val 10000"/>
          </a:avLst>
        </a:prstGeom>
        <a:solidFill>
          <a:srgbClr val="899BA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Generation X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965-1979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60 million</a:t>
          </a:r>
          <a:endParaRPr lang="en-US" sz="1700" kern="1200" dirty="0"/>
        </a:p>
      </dsp:txBody>
      <dsp:txXfrm>
        <a:off x="3410768" y="2072640"/>
        <a:ext cx="1655712" cy="2072640"/>
      </dsp:txXfrm>
    </dsp:sp>
    <dsp:sp modelId="{6BD40C7E-AF0C-4C9C-9F18-8737F53CE4D5}">
      <dsp:nvSpPr>
        <dsp:cNvPr id="0" name=""/>
        <dsp:cNvSpPr/>
      </dsp:nvSpPr>
      <dsp:spPr>
        <a:xfrm>
          <a:off x="3460439" y="310896"/>
          <a:ext cx="1556370" cy="1725472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CE912D-0C45-4446-B10E-3159E8328190}">
      <dsp:nvSpPr>
        <dsp:cNvPr id="0" name=""/>
        <dsp:cNvSpPr/>
      </dsp:nvSpPr>
      <dsp:spPr>
        <a:xfrm>
          <a:off x="5116152" y="0"/>
          <a:ext cx="1655712" cy="5181600"/>
        </a:xfrm>
        <a:prstGeom prst="roundRect">
          <a:avLst>
            <a:gd name="adj" fmla="val 10000"/>
          </a:avLst>
        </a:prstGeom>
        <a:solidFill>
          <a:srgbClr val="9257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Millennial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980-1994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82 million</a:t>
          </a:r>
          <a:endParaRPr lang="en-US" sz="1700" kern="1200" dirty="0"/>
        </a:p>
      </dsp:txBody>
      <dsp:txXfrm>
        <a:off x="5116152" y="2072640"/>
        <a:ext cx="1655712" cy="2072640"/>
      </dsp:txXfrm>
    </dsp:sp>
    <dsp:sp modelId="{998C04F6-7CC8-4440-A5C0-00733E9609FB}">
      <dsp:nvSpPr>
        <dsp:cNvPr id="0" name=""/>
        <dsp:cNvSpPr/>
      </dsp:nvSpPr>
      <dsp:spPr>
        <a:xfrm>
          <a:off x="5165824" y="310896"/>
          <a:ext cx="1556370" cy="1725472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B4359A-B79D-4168-B2F7-06FE181E5EFC}">
      <dsp:nvSpPr>
        <dsp:cNvPr id="0" name=""/>
        <dsp:cNvSpPr/>
      </dsp:nvSpPr>
      <dsp:spPr>
        <a:xfrm>
          <a:off x="6821537" y="0"/>
          <a:ext cx="1655712" cy="5181600"/>
        </a:xfrm>
        <a:prstGeom prst="roundRect">
          <a:avLst>
            <a:gd name="adj" fmla="val 10000"/>
          </a:avLst>
        </a:prstGeom>
        <a:solidFill>
          <a:srgbClr val="D27D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iGeneration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1995-2012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72 million</a:t>
          </a:r>
          <a:endParaRPr lang="en-US" sz="1700" kern="1200" dirty="0"/>
        </a:p>
      </dsp:txBody>
      <dsp:txXfrm>
        <a:off x="6821537" y="2072640"/>
        <a:ext cx="1655712" cy="2072640"/>
      </dsp:txXfrm>
    </dsp:sp>
    <dsp:sp modelId="{6E820F00-729F-47CE-A081-ACA823C3F60F}">
      <dsp:nvSpPr>
        <dsp:cNvPr id="0" name=""/>
        <dsp:cNvSpPr/>
      </dsp:nvSpPr>
      <dsp:spPr>
        <a:xfrm>
          <a:off x="6871208" y="310896"/>
          <a:ext cx="1556370" cy="1725472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01E1F-5C5D-45DE-A292-0031DB806D4B}">
      <dsp:nvSpPr>
        <dsp:cNvPr id="0" name=""/>
        <dsp:cNvSpPr/>
      </dsp:nvSpPr>
      <dsp:spPr>
        <a:xfrm>
          <a:off x="339089" y="4145280"/>
          <a:ext cx="7799070" cy="777240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757762-7B88-4454-B949-689E8716519C}">
      <dsp:nvSpPr>
        <dsp:cNvPr id="0" name=""/>
        <dsp:cNvSpPr/>
      </dsp:nvSpPr>
      <dsp:spPr>
        <a:xfrm>
          <a:off x="8552" y="862429"/>
          <a:ext cx="4493124" cy="328457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3200" b="1" kern="1200" dirty="0">
            <a:solidFill>
              <a:schemeClr val="tx1"/>
            </a:solidFill>
          </a:endParaRPr>
        </a:p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3200" b="1" kern="1200" dirty="0" smtClean="0">
              <a:solidFill>
                <a:schemeClr val="tx1"/>
              </a:solidFill>
            </a:rPr>
            <a:t>Communicating with friends electronically </a:t>
          </a:r>
          <a:endParaRPr lang="en-US" sz="3200" b="1" kern="1200" dirty="0">
            <a:solidFill>
              <a:schemeClr val="tx1"/>
            </a:solidFill>
          </a:endParaRPr>
        </a:p>
      </dsp:txBody>
      <dsp:txXfrm>
        <a:off x="84139" y="938016"/>
        <a:ext cx="4341950" cy="2429559"/>
      </dsp:txXfrm>
    </dsp:sp>
    <dsp:sp modelId="{3C308C4B-B7A9-41DE-B31F-1505883BEFD9}">
      <dsp:nvSpPr>
        <dsp:cNvPr id="0" name=""/>
        <dsp:cNvSpPr/>
      </dsp:nvSpPr>
      <dsp:spPr>
        <a:xfrm>
          <a:off x="7070156" y="3152869"/>
          <a:ext cx="2471286" cy="1689808"/>
        </a:xfrm>
        <a:prstGeom prst="circularArrow">
          <a:avLst>
            <a:gd name="adj1" fmla="val 1504"/>
            <a:gd name="adj2" fmla="val 178211"/>
            <a:gd name="adj3" fmla="val 1589596"/>
            <a:gd name="adj4" fmla="val 8660364"/>
            <a:gd name="adj5" fmla="val 1755"/>
          </a:avLst>
        </a:prstGeom>
        <a:noFill/>
        <a:ln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12EFC8-5BA4-49F1-8BD9-DD70A56F5AE4}">
      <dsp:nvSpPr>
        <dsp:cNvPr id="0" name=""/>
        <dsp:cNvSpPr/>
      </dsp:nvSpPr>
      <dsp:spPr>
        <a:xfrm>
          <a:off x="251158" y="3692093"/>
          <a:ext cx="2493328" cy="991514"/>
        </a:xfrm>
        <a:prstGeom prst="roundRect">
          <a:avLst>
            <a:gd name="adj" fmla="val 10000"/>
          </a:avLst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50800" rIns="762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More time</a:t>
          </a:r>
          <a:endParaRPr lang="en-US" sz="4000" kern="1200" dirty="0"/>
        </a:p>
      </dsp:txBody>
      <dsp:txXfrm>
        <a:off x="280198" y="3721133"/>
        <a:ext cx="2435248" cy="933434"/>
      </dsp:txXfrm>
    </dsp:sp>
    <dsp:sp modelId="{CE286B4B-4CF0-4C20-812C-C148A624900C}">
      <dsp:nvSpPr>
        <dsp:cNvPr id="0" name=""/>
        <dsp:cNvSpPr/>
      </dsp:nvSpPr>
      <dsp:spPr>
        <a:xfrm>
          <a:off x="4878390" y="1175509"/>
          <a:ext cx="3424085" cy="275125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b="1" kern="1200" dirty="0" smtClean="0"/>
            <a:t>Communicating with friends in person</a:t>
          </a:r>
          <a:endParaRPr lang="en-US" sz="2800" b="1" kern="1200" dirty="0"/>
        </a:p>
      </dsp:txBody>
      <dsp:txXfrm>
        <a:off x="4941704" y="1828377"/>
        <a:ext cx="3297457" cy="2035072"/>
      </dsp:txXfrm>
    </dsp:sp>
    <dsp:sp modelId="{0D7C01E7-A4DA-48D0-A071-28EB8DFB593E}">
      <dsp:nvSpPr>
        <dsp:cNvPr id="0" name=""/>
        <dsp:cNvSpPr/>
      </dsp:nvSpPr>
      <dsp:spPr>
        <a:xfrm>
          <a:off x="5775862" y="738116"/>
          <a:ext cx="2493328" cy="991514"/>
        </a:xfrm>
        <a:prstGeom prst="roundRect">
          <a:avLst>
            <a:gd name="adj" fmla="val 10000"/>
          </a:avLst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50800" rIns="762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Less time</a:t>
          </a:r>
          <a:endParaRPr lang="en-US" sz="4000" kern="1200" dirty="0"/>
        </a:p>
      </dsp:txBody>
      <dsp:txXfrm>
        <a:off x="5804902" y="767156"/>
        <a:ext cx="2435248" cy="9334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25E53E-C907-4886-888C-BA83067D83CB}">
      <dsp:nvSpPr>
        <dsp:cNvPr id="0" name=""/>
        <dsp:cNvSpPr/>
      </dsp:nvSpPr>
      <dsp:spPr>
        <a:xfrm>
          <a:off x="635793" y="0"/>
          <a:ext cx="7205662" cy="518160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4814E1-9DDF-42B4-BBCF-2A4724442052}">
      <dsp:nvSpPr>
        <dsp:cNvPr id="0" name=""/>
        <dsp:cNvSpPr/>
      </dsp:nvSpPr>
      <dsp:spPr>
        <a:xfrm>
          <a:off x="108552" y="1554480"/>
          <a:ext cx="4026693" cy="2072640"/>
        </a:xfrm>
        <a:prstGeom prst="roundRect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kern="1200" dirty="0" smtClean="0"/>
            <a:t>We think of the iGen as looking at their phones</a:t>
          </a:r>
          <a:endParaRPr lang="en-US" sz="3900" kern="1200" dirty="0"/>
        </a:p>
      </dsp:txBody>
      <dsp:txXfrm>
        <a:off x="209730" y="1655658"/>
        <a:ext cx="3824337" cy="1870284"/>
      </dsp:txXfrm>
    </dsp:sp>
    <dsp:sp modelId="{C9C04FDB-2A11-47DE-B0EB-A4453A1E1FA9}">
      <dsp:nvSpPr>
        <dsp:cNvPr id="0" name=""/>
        <dsp:cNvSpPr/>
      </dsp:nvSpPr>
      <dsp:spPr>
        <a:xfrm>
          <a:off x="4342003" y="1554480"/>
          <a:ext cx="4026693" cy="2072640"/>
        </a:xfrm>
        <a:prstGeom prst="roundRect">
          <a:avLst/>
        </a:prstGeom>
        <a:solidFill>
          <a:srgbClr val="14385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8590" tIns="148590" rIns="148590" bIns="148590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900" kern="1200" dirty="0" smtClean="0"/>
            <a:t>We will think of iGen other traits as time goes on</a:t>
          </a:r>
          <a:endParaRPr lang="en-US" sz="3900" kern="1200" dirty="0"/>
        </a:p>
      </dsp:txBody>
      <dsp:txXfrm>
        <a:off x="4443181" y="1655658"/>
        <a:ext cx="3824337" cy="187028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32E46-D5AE-42C4-87D8-F3265FFA576F}">
      <dsp:nvSpPr>
        <dsp:cNvPr id="0" name=""/>
        <dsp:cNvSpPr/>
      </dsp:nvSpPr>
      <dsp:spPr>
        <a:xfrm>
          <a:off x="3441423" y="1150613"/>
          <a:ext cx="3608033" cy="3550921"/>
        </a:xfrm>
        <a:prstGeom prst="gear9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illennials</a:t>
          </a:r>
          <a:endParaRPr lang="en-US" sz="2400" kern="1200" dirty="0"/>
        </a:p>
      </dsp:txBody>
      <dsp:txXfrm>
        <a:off x="4162530" y="1982399"/>
        <a:ext cx="2165819" cy="1825247"/>
      </dsp:txXfrm>
    </dsp:sp>
    <dsp:sp modelId="{53D126D5-2CEA-47B8-8BEE-036FFF1998F0}">
      <dsp:nvSpPr>
        <dsp:cNvPr id="0" name=""/>
        <dsp:cNvSpPr/>
      </dsp:nvSpPr>
      <dsp:spPr>
        <a:xfrm>
          <a:off x="1371598" y="152392"/>
          <a:ext cx="2651756" cy="2651756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Baby Boomers</a:t>
          </a:r>
          <a:endParaRPr lang="en-US" sz="2400" kern="1200" dirty="0"/>
        </a:p>
      </dsp:txBody>
      <dsp:txXfrm>
        <a:off x="2039186" y="824014"/>
        <a:ext cx="1316580" cy="1308512"/>
      </dsp:txXfrm>
    </dsp:sp>
    <dsp:sp modelId="{CAF745BE-3B7F-4E16-8EBA-3166389344C6}">
      <dsp:nvSpPr>
        <dsp:cNvPr id="0" name=""/>
        <dsp:cNvSpPr/>
      </dsp:nvSpPr>
      <dsp:spPr>
        <a:xfrm>
          <a:off x="4114810" y="838214"/>
          <a:ext cx="3962275" cy="4114617"/>
        </a:xfrm>
        <a:prstGeom prst="circularArrow">
          <a:avLst>
            <a:gd name="adj1" fmla="val 4878"/>
            <a:gd name="adj2" fmla="val 312630"/>
            <a:gd name="adj3" fmla="val 3210184"/>
            <a:gd name="adj4" fmla="val 15131853"/>
            <a:gd name="adj5" fmla="val 569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D45158-EBB5-43B8-9B58-303E24A0A0C8}">
      <dsp:nvSpPr>
        <dsp:cNvPr id="0" name=""/>
        <dsp:cNvSpPr/>
      </dsp:nvSpPr>
      <dsp:spPr>
        <a:xfrm>
          <a:off x="838205" y="-76192"/>
          <a:ext cx="2650388" cy="265038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32E46-D5AE-42C4-87D8-F3265FFA576F}">
      <dsp:nvSpPr>
        <dsp:cNvPr id="0" name=""/>
        <dsp:cNvSpPr/>
      </dsp:nvSpPr>
      <dsp:spPr>
        <a:xfrm>
          <a:off x="3441423" y="1150613"/>
          <a:ext cx="3608033" cy="3550921"/>
        </a:xfrm>
        <a:prstGeom prst="gear9">
          <a:avLst/>
        </a:prstGeom>
        <a:solidFill>
          <a:srgbClr val="25629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iGeneration</a:t>
          </a:r>
          <a:endParaRPr lang="en-US" sz="2000" kern="1200" dirty="0"/>
        </a:p>
      </dsp:txBody>
      <dsp:txXfrm>
        <a:off x="4162530" y="1982399"/>
        <a:ext cx="2165819" cy="1825247"/>
      </dsp:txXfrm>
    </dsp:sp>
    <dsp:sp modelId="{53D126D5-2CEA-47B8-8BEE-036FFF1998F0}">
      <dsp:nvSpPr>
        <dsp:cNvPr id="0" name=""/>
        <dsp:cNvSpPr/>
      </dsp:nvSpPr>
      <dsp:spPr>
        <a:xfrm>
          <a:off x="1371598" y="152392"/>
          <a:ext cx="2651756" cy="2651756"/>
        </a:xfrm>
        <a:prstGeom prst="gear6">
          <a:avLst/>
        </a:prstGeom>
        <a:solidFill>
          <a:schemeClr val="accent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Generation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X</a:t>
          </a:r>
          <a:endParaRPr lang="en-US" sz="2000" kern="1200" dirty="0"/>
        </a:p>
      </dsp:txBody>
      <dsp:txXfrm>
        <a:off x="2039186" y="824014"/>
        <a:ext cx="1316580" cy="1308512"/>
      </dsp:txXfrm>
    </dsp:sp>
    <dsp:sp modelId="{CAF745BE-3B7F-4E16-8EBA-3166389344C6}">
      <dsp:nvSpPr>
        <dsp:cNvPr id="0" name=""/>
        <dsp:cNvSpPr/>
      </dsp:nvSpPr>
      <dsp:spPr>
        <a:xfrm>
          <a:off x="4114810" y="838214"/>
          <a:ext cx="3962275" cy="4114617"/>
        </a:xfrm>
        <a:prstGeom prst="circularArrow">
          <a:avLst>
            <a:gd name="adj1" fmla="val 4878"/>
            <a:gd name="adj2" fmla="val 312630"/>
            <a:gd name="adj3" fmla="val 3210184"/>
            <a:gd name="adj4" fmla="val 15131853"/>
            <a:gd name="adj5" fmla="val 569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D45158-EBB5-43B8-9B58-303E24A0A0C8}">
      <dsp:nvSpPr>
        <dsp:cNvPr id="0" name=""/>
        <dsp:cNvSpPr/>
      </dsp:nvSpPr>
      <dsp:spPr>
        <a:xfrm>
          <a:off x="838205" y="-76192"/>
          <a:ext cx="2650388" cy="265038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1FBB1-2478-4739-839C-EDEEDEC73D57}">
      <dsp:nvSpPr>
        <dsp:cNvPr id="0" name=""/>
        <dsp:cNvSpPr/>
      </dsp:nvSpPr>
      <dsp:spPr>
        <a:xfrm>
          <a:off x="1564240" y="-34000"/>
          <a:ext cx="5348769" cy="5348769"/>
        </a:xfrm>
        <a:prstGeom prst="circularArrow">
          <a:avLst>
            <a:gd name="adj1" fmla="val 5544"/>
            <a:gd name="adj2" fmla="val 330680"/>
            <a:gd name="adj3" fmla="val 14499290"/>
            <a:gd name="adj4" fmla="val 16959666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4D768C-1099-4B19-85E8-E07FFB48E038}">
      <dsp:nvSpPr>
        <dsp:cNvPr id="0" name=""/>
        <dsp:cNvSpPr/>
      </dsp:nvSpPr>
      <dsp:spPr>
        <a:xfrm>
          <a:off x="3396281" y="1644"/>
          <a:ext cx="1684687" cy="84234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iversity</a:t>
          </a:r>
          <a:endParaRPr lang="en-US" sz="2000" kern="1200" dirty="0"/>
        </a:p>
      </dsp:txBody>
      <dsp:txXfrm>
        <a:off x="3437401" y="42764"/>
        <a:ext cx="1602447" cy="760103"/>
      </dsp:txXfrm>
    </dsp:sp>
    <dsp:sp modelId="{7F249201-93AF-4109-82A1-970985A8C29A}">
      <dsp:nvSpPr>
        <dsp:cNvPr id="0" name=""/>
        <dsp:cNvSpPr/>
      </dsp:nvSpPr>
      <dsp:spPr>
        <a:xfrm>
          <a:off x="5179580" y="860435"/>
          <a:ext cx="1684687" cy="842343"/>
        </a:xfrm>
        <a:prstGeom prst="roundRect">
          <a:avLst/>
        </a:prstGeom>
        <a:solidFill>
          <a:schemeClr val="accent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Economy</a:t>
          </a:r>
          <a:endParaRPr lang="en-US" sz="2000" kern="1200" dirty="0"/>
        </a:p>
      </dsp:txBody>
      <dsp:txXfrm>
        <a:off x="5220700" y="901555"/>
        <a:ext cx="1602447" cy="760103"/>
      </dsp:txXfrm>
    </dsp:sp>
    <dsp:sp modelId="{8D52AC02-2183-4790-B643-99F3ACBED5BC}">
      <dsp:nvSpPr>
        <dsp:cNvPr id="0" name=""/>
        <dsp:cNvSpPr/>
      </dsp:nvSpPr>
      <dsp:spPr>
        <a:xfrm>
          <a:off x="5620018" y="2790122"/>
          <a:ext cx="1684687" cy="842343"/>
        </a:xfrm>
        <a:prstGeom prst="roundRect">
          <a:avLst/>
        </a:prstGeom>
        <a:solidFill>
          <a:srgbClr val="9257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ar on Terrorism</a:t>
          </a:r>
          <a:endParaRPr lang="en-US" sz="2000" kern="1200" dirty="0"/>
        </a:p>
      </dsp:txBody>
      <dsp:txXfrm>
        <a:off x="5661138" y="2831242"/>
        <a:ext cx="1602447" cy="760103"/>
      </dsp:txXfrm>
    </dsp:sp>
    <dsp:sp modelId="{7BB6F06C-00FE-416B-B094-8D10562D268A}">
      <dsp:nvSpPr>
        <dsp:cNvPr id="0" name=""/>
        <dsp:cNvSpPr/>
      </dsp:nvSpPr>
      <dsp:spPr>
        <a:xfrm>
          <a:off x="4385937" y="4337611"/>
          <a:ext cx="1684687" cy="842343"/>
        </a:xfrm>
        <a:prstGeom prst="round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Environment</a:t>
          </a:r>
          <a:endParaRPr lang="en-US" sz="2000" kern="1200" dirty="0"/>
        </a:p>
      </dsp:txBody>
      <dsp:txXfrm>
        <a:off x="4427057" y="4378731"/>
        <a:ext cx="1602447" cy="760103"/>
      </dsp:txXfrm>
    </dsp:sp>
    <dsp:sp modelId="{D5D91E1A-3D55-4737-B756-A5BEB933ECAC}">
      <dsp:nvSpPr>
        <dsp:cNvPr id="0" name=""/>
        <dsp:cNvSpPr/>
      </dsp:nvSpPr>
      <dsp:spPr>
        <a:xfrm>
          <a:off x="2406624" y="4337611"/>
          <a:ext cx="1684687" cy="842343"/>
        </a:xfrm>
        <a:prstGeom prst="roundRect">
          <a:avLst/>
        </a:prstGeom>
        <a:solidFill>
          <a:schemeClr val="accent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Politics</a:t>
          </a:r>
          <a:endParaRPr lang="en-US" sz="2000" kern="1200" dirty="0"/>
        </a:p>
      </dsp:txBody>
      <dsp:txXfrm>
        <a:off x="2447744" y="4378731"/>
        <a:ext cx="1602447" cy="760103"/>
      </dsp:txXfrm>
    </dsp:sp>
    <dsp:sp modelId="{DE49468A-2E7A-44D2-B723-1122DD823EDF}">
      <dsp:nvSpPr>
        <dsp:cNvPr id="0" name=""/>
        <dsp:cNvSpPr/>
      </dsp:nvSpPr>
      <dsp:spPr>
        <a:xfrm>
          <a:off x="1172543" y="2790122"/>
          <a:ext cx="1684687" cy="842343"/>
        </a:xfrm>
        <a:prstGeom prst="roundRect">
          <a:avLst/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Celebrity &amp; Media</a:t>
          </a:r>
          <a:endParaRPr lang="en-US" sz="2000" kern="1200" dirty="0"/>
        </a:p>
      </dsp:txBody>
      <dsp:txXfrm>
        <a:off x="1213663" y="2831242"/>
        <a:ext cx="1602447" cy="760103"/>
      </dsp:txXfrm>
    </dsp:sp>
    <dsp:sp modelId="{8B499EC8-4602-4C18-9922-8B3EB3A2B2D0}">
      <dsp:nvSpPr>
        <dsp:cNvPr id="0" name=""/>
        <dsp:cNvSpPr/>
      </dsp:nvSpPr>
      <dsp:spPr>
        <a:xfrm>
          <a:off x="1612981" y="860435"/>
          <a:ext cx="1684687" cy="842343"/>
        </a:xfrm>
        <a:prstGeom prst="roundRect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echnology</a:t>
          </a:r>
          <a:endParaRPr lang="en-US" sz="2000" kern="1200" dirty="0"/>
        </a:p>
      </dsp:txBody>
      <dsp:txXfrm>
        <a:off x="1654101" y="901555"/>
        <a:ext cx="1602447" cy="760103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896BE0-316E-4C4E-8504-54B1E6F8140B}">
      <dsp:nvSpPr>
        <dsp:cNvPr id="0" name=""/>
        <dsp:cNvSpPr/>
      </dsp:nvSpPr>
      <dsp:spPr>
        <a:xfrm>
          <a:off x="99342" y="3748"/>
          <a:ext cx="2587051" cy="1552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Phigital </a:t>
          </a:r>
          <a:endParaRPr lang="en-US" sz="3000" kern="1200" dirty="0"/>
        </a:p>
      </dsp:txBody>
      <dsp:txXfrm>
        <a:off x="99342" y="3748"/>
        <a:ext cx="2587051" cy="1552230"/>
      </dsp:txXfrm>
    </dsp:sp>
    <dsp:sp modelId="{61749D6C-1801-4956-8FA3-0B9EC45DBFA4}">
      <dsp:nvSpPr>
        <dsp:cNvPr id="0" name=""/>
        <dsp:cNvSpPr/>
      </dsp:nvSpPr>
      <dsp:spPr>
        <a:xfrm>
          <a:off x="2945099" y="3748"/>
          <a:ext cx="2587051" cy="1552230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Hyper-Custom</a:t>
          </a:r>
          <a:endParaRPr lang="en-US" sz="3000" kern="1200" dirty="0"/>
        </a:p>
      </dsp:txBody>
      <dsp:txXfrm>
        <a:off x="2945099" y="3748"/>
        <a:ext cx="2587051" cy="1552230"/>
      </dsp:txXfrm>
    </dsp:sp>
    <dsp:sp modelId="{5F403D84-E5B7-450E-B6EA-5583611BAD78}">
      <dsp:nvSpPr>
        <dsp:cNvPr id="0" name=""/>
        <dsp:cNvSpPr/>
      </dsp:nvSpPr>
      <dsp:spPr>
        <a:xfrm>
          <a:off x="5790855" y="3748"/>
          <a:ext cx="2587051" cy="1552230"/>
        </a:xfrm>
        <a:prstGeom prst="rect">
          <a:avLst/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Realistic</a:t>
          </a:r>
          <a:endParaRPr lang="en-US" sz="3000" kern="1200" dirty="0"/>
        </a:p>
      </dsp:txBody>
      <dsp:txXfrm>
        <a:off x="5790855" y="3748"/>
        <a:ext cx="2587051" cy="1552230"/>
      </dsp:txXfrm>
    </dsp:sp>
    <dsp:sp modelId="{B150E72A-C0D8-4D1F-9F9A-FC138CF78F4A}">
      <dsp:nvSpPr>
        <dsp:cNvPr id="0" name=""/>
        <dsp:cNvSpPr/>
      </dsp:nvSpPr>
      <dsp:spPr>
        <a:xfrm>
          <a:off x="99342" y="1814684"/>
          <a:ext cx="2587051" cy="1552230"/>
        </a:xfrm>
        <a:prstGeom prst="rect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err="1" smtClean="0"/>
            <a:t>Weconomists</a:t>
          </a:r>
          <a:endParaRPr lang="en-US" sz="3000" kern="1200" dirty="0"/>
        </a:p>
      </dsp:txBody>
      <dsp:txXfrm>
        <a:off x="99342" y="1814684"/>
        <a:ext cx="2587051" cy="1552230"/>
      </dsp:txXfrm>
    </dsp:sp>
    <dsp:sp modelId="{2D42F73E-0DC2-42C6-AECE-BCA9A8999227}">
      <dsp:nvSpPr>
        <dsp:cNvPr id="0" name=""/>
        <dsp:cNvSpPr/>
      </dsp:nvSpPr>
      <dsp:spPr>
        <a:xfrm>
          <a:off x="2945099" y="1814684"/>
          <a:ext cx="2587051" cy="1552230"/>
        </a:xfrm>
        <a:prstGeom prst="rect">
          <a:avLst/>
        </a:prstGeom>
        <a:solidFill>
          <a:srgbClr val="9257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smtClean="0"/>
            <a:t>FOMO</a:t>
          </a:r>
          <a:endParaRPr lang="en-US" sz="3000" kern="1200" dirty="0"/>
        </a:p>
      </dsp:txBody>
      <dsp:txXfrm>
        <a:off x="2945099" y="1814684"/>
        <a:ext cx="2587051" cy="1552230"/>
      </dsp:txXfrm>
    </dsp:sp>
    <dsp:sp modelId="{5DB512B6-DBD3-4FDD-9386-93DD39629E7B}">
      <dsp:nvSpPr>
        <dsp:cNvPr id="0" name=""/>
        <dsp:cNvSpPr/>
      </dsp:nvSpPr>
      <dsp:spPr>
        <a:xfrm>
          <a:off x="5790855" y="1814684"/>
          <a:ext cx="2587051" cy="155223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DIY </a:t>
          </a:r>
          <a:endParaRPr lang="en-US" sz="3000" kern="1200" dirty="0"/>
        </a:p>
      </dsp:txBody>
      <dsp:txXfrm>
        <a:off x="5790855" y="1814684"/>
        <a:ext cx="2587051" cy="1552230"/>
      </dsp:txXfrm>
    </dsp:sp>
    <dsp:sp modelId="{2CB20208-6D9A-4E03-8E33-7FF3AC29C1EE}">
      <dsp:nvSpPr>
        <dsp:cNvPr id="0" name=""/>
        <dsp:cNvSpPr/>
      </dsp:nvSpPr>
      <dsp:spPr>
        <a:xfrm>
          <a:off x="2945099" y="3625620"/>
          <a:ext cx="2587051" cy="1552230"/>
        </a:xfrm>
        <a:prstGeom prst="rect">
          <a:avLst/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Driven</a:t>
          </a:r>
          <a:endParaRPr lang="en-US" sz="3000" kern="1200" dirty="0"/>
        </a:p>
      </dsp:txBody>
      <dsp:txXfrm>
        <a:off x="2945099" y="3625620"/>
        <a:ext cx="2587051" cy="155223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0DE979-5D1E-41F5-A5AC-3D4AE5C71EE1}">
      <dsp:nvSpPr>
        <dsp:cNvPr id="0" name=""/>
        <dsp:cNvSpPr/>
      </dsp:nvSpPr>
      <dsp:spPr>
        <a:xfrm rot="16200000">
          <a:off x="-1361335" y="1364649"/>
          <a:ext cx="4038600" cy="1309301"/>
        </a:xfrm>
        <a:prstGeom prst="flowChartManualOperation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on’t read books</a:t>
          </a:r>
          <a:endParaRPr lang="en-US" sz="2000" kern="1200" dirty="0"/>
        </a:p>
      </dsp:txBody>
      <dsp:txXfrm rot="5400000">
        <a:off x="3314" y="807720"/>
        <a:ext cx="1309301" cy="2423160"/>
      </dsp:txXfrm>
    </dsp:sp>
    <dsp:sp modelId="{6E19E756-5144-4047-88E2-6BD5C602354A}">
      <dsp:nvSpPr>
        <dsp:cNvPr id="0" name=""/>
        <dsp:cNvSpPr/>
      </dsp:nvSpPr>
      <dsp:spPr>
        <a:xfrm rot="16200000">
          <a:off x="46163" y="1364649"/>
          <a:ext cx="4038600" cy="1309301"/>
        </a:xfrm>
        <a:prstGeom prst="flowChartManualOperation">
          <a:avLst/>
        </a:prstGeom>
        <a:solidFill>
          <a:schemeClr val="accent4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Lack critical thinking </a:t>
          </a:r>
          <a:endParaRPr lang="en-US" sz="2000" kern="1200" dirty="0"/>
        </a:p>
      </dsp:txBody>
      <dsp:txXfrm rot="5400000">
        <a:off x="1410812" y="807720"/>
        <a:ext cx="1309301" cy="2423160"/>
      </dsp:txXfrm>
    </dsp:sp>
    <dsp:sp modelId="{DF026A56-B79B-4F84-8944-93A69FB876E3}">
      <dsp:nvSpPr>
        <dsp:cNvPr id="0" name=""/>
        <dsp:cNvSpPr/>
      </dsp:nvSpPr>
      <dsp:spPr>
        <a:xfrm rot="16200000">
          <a:off x="1453662" y="1364649"/>
          <a:ext cx="4038600" cy="1309301"/>
        </a:xfrm>
        <a:prstGeom prst="flowChartManualOperation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Want instant results and constant feedback</a:t>
          </a:r>
          <a:endParaRPr lang="en-US" sz="2000" kern="1200" dirty="0"/>
        </a:p>
      </dsp:txBody>
      <dsp:txXfrm rot="5400000">
        <a:off x="2818311" y="807720"/>
        <a:ext cx="1309301" cy="2423160"/>
      </dsp:txXfrm>
    </dsp:sp>
    <dsp:sp modelId="{C6FFC092-1B53-428A-9922-0EF7AAE5B064}">
      <dsp:nvSpPr>
        <dsp:cNvPr id="0" name=""/>
        <dsp:cNvSpPr/>
      </dsp:nvSpPr>
      <dsp:spPr>
        <a:xfrm rot="16200000">
          <a:off x="2861162" y="1364649"/>
          <a:ext cx="4038600" cy="1309301"/>
        </a:xfrm>
        <a:prstGeom prst="flowChartManualOperation">
          <a:avLst/>
        </a:prstGeom>
        <a:solidFill>
          <a:schemeClr val="tx1">
            <a:lumMod val="65000"/>
            <a:lumOff val="3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horter attention span</a:t>
          </a:r>
          <a:endParaRPr lang="en-US" sz="2000" kern="1200" dirty="0"/>
        </a:p>
      </dsp:txBody>
      <dsp:txXfrm rot="5400000">
        <a:off x="4225811" y="807720"/>
        <a:ext cx="1309301" cy="2423160"/>
      </dsp:txXfrm>
    </dsp:sp>
    <dsp:sp modelId="{B9AA08E7-1EFF-45AA-8F1D-737ADC8EAD5C}">
      <dsp:nvSpPr>
        <dsp:cNvPr id="0" name=""/>
        <dsp:cNvSpPr/>
      </dsp:nvSpPr>
      <dsp:spPr>
        <a:xfrm rot="16200000">
          <a:off x="4268661" y="1364649"/>
          <a:ext cx="4038600" cy="1309301"/>
        </a:xfrm>
        <a:prstGeom prst="flowChartManualOperation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Flexibility is Key</a:t>
          </a:r>
          <a:endParaRPr lang="en-US" sz="2000" kern="1200" dirty="0"/>
        </a:p>
      </dsp:txBody>
      <dsp:txXfrm rot="5400000">
        <a:off x="5633310" y="807720"/>
        <a:ext cx="1309301" cy="2423160"/>
      </dsp:txXfrm>
    </dsp:sp>
    <dsp:sp modelId="{60980D89-51B0-4B18-9985-015735A15D6F}">
      <dsp:nvSpPr>
        <dsp:cNvPr id="0" name=""/>
        <dsp:cNvSpPr/>
      </dsp:nvSpPr>
      <dsp:spPr>
        <a:xfrm rot="16200000">
          <a:off x="5676160" y="1364649"/>
          <a:ext cx="4038600" cy="1309301"/>
        </a:xfrm>
        <a:prstGeom prst="flowChartManualOperation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0" tIns="0" rIns="127402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ocially Inclined</a:t>
          </a:r>
          <a:endParaRPr lang="en-US" sz="2000" kern="1200" dirty="0"/>
        </a:p>
      </dsp:txBody>
      <dsp:txXfrm rot="5400000">
        <a:off x="7040809" y="807720"/>
        <a:ext cx="1309301" cy="2423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7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813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709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92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8976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68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7097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18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190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855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239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151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0480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46767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45720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505200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4612481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591050"/>
            <a:ext cx="514931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ranklin Gothic Book" pitchFamily="34" charset="0"/>
              </a:defRPr>
            </a:lvl1pPr>
            <a:lvl2pPr>
              <a:defRPr>
                <a:latin typeface="Franklin Gothic Book" pitchFamily="34" charset="0"/>
              </a:defRPr>
            </a:lvl2pPr>
            <a:lvl3pPr>
              <a:defRPr>
                <a:latin typeface="Franklin Gothic Book" pitchFamily="34" charset="0"/>
              </a:defRPr>
            </a:lvl3pPr>
            <a:lvl4pPr>
              <a:defRPr>
                <a:latin typeface="Franklin Gothic Book" pitchFamily="34" charset="0"/>
              </a:defRPr>
            </a:lvl4pPr>
            <a:lvl5pPr>
              <a:defRPr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04800" y="6439989"/>
            <a:ext cx="914400" cy="30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pic>
        <p:nvPicPr>
          <p:cNvPr id="15155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518684"/>
            <a:ext cx="914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pic>
        <p:nvPicPr>
          <p:cNvPr id="15257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501267"/>
            <a:ext cx="914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9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  <p:pic>
        <p:nvPicPr>
          <p:cNvPr id="51260" name="Picture 60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465099"/>
            <a:ext cx="9144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mailto:Laura.johannsen@txdot.gov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youtube.com/watch?v=nFaEPe6T_m4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orkforce 2020	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raining &amp;Empowering the iGeneration</a:t>
            </a:r>
            <a:endParaRPr lang="en-US" dirty="0"/>
          </a:p>
        </p:txBody>
      </p:sp>
      <p:pic>
        <p:nvPicPr>
          <p:cNvPr id="4" name="Picture 3" descr="BufBaK_05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1" r="15588" b="1324"/>
          <a:stretch/>
        </p:blipFill>
        <p:spPr>
          <a:xfrm>
            <a:off x="5673354" y="1981200"/>
            <a:ext cx="3207872" cy="3207122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5" name="Picture 4" descr="CapMeR_018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05" r="9195" b="2890"/>
          <a:stretch/>
        </p:blipFill>
        <p:spPr>
          <a:xfrm>
            <a:off x="4394970" y="1981200"/>
            <a:ext cx="1270028" cy="1178336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6" name="Picture 5" descr="0106148a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58"/>
          <a:stretch/>
        </p:blipFill>
        <p:spPr>
          <a:xfrm>
            <a:off x="2397704" y="1981200"/>
            <a:ext cx="1042268" cy="1181031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7" name="Picture 6" descr="TH091058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53" t="29883" r="368" b="1931"/>
          <a:stretch/>
        </p:blipFill>
        <p:spPr>
          <a:xfrm>
            <a:off x="492971" y="1981200"/>
            <a:ext cx="1896689" cy="1180285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" t="528" r="6538" b="22227"/>
          <a:stretch/>
        </p:blipFill>
        <p:spPr>
          <a:xfrm>
            <a:off x="3450802" y="1981200"/>
            <a:ext cx="927455" cy="1181031"/>
          </a:xfrm>
          <a:prstGeom prst="rect">
            <a:avLst/>
          </a:prstGeom>
          <a:ln>
            <a:solidFill>
              <a:srgbClr val="FFFFFF"/>
            </a:solidFill>
          </a:ln>
        </p:spPr>
      </p:pic>
    </p:spTree>
    <p:extLst>
      <p:ext uri="{BB962C8B-B14F-4D97-AF65-F5344CB8AC3E}">
        <p14:creationId xmlns:p14="http://schemas.microsoft.com/office/powerpoint/2010/main" val="2197432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quick look at history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52750279"/>
              </p:ext>
            </p:extLst>
          </p:nvPr>
        </p:nvGraphicFramePr>
        <p:xfrm>
          <a:off x="228600" y="8382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627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pic>
        <p:nvPicPr>
          <p:cNvPr id="156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663" y="1076325"/>
            <a:ext cx="6162675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85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quick look at history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63100739"/>
              </p:ext>
            </p:extLst>
          </p:nvPr>
        </p:nvGraphicFramePr>
        <p:xfrm>
          <a:off x="228600" y="8382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280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icopter goes high te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224" y="685800"/>
            <a:ext cx="4295775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6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17" y="1600200"/>
            <a:ext cx="4343400" cy="394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3467100"/>
            <a:ext cx="329565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55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t Friends not Enforc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1587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4150" y="1828800"/>
            <a:ext cx="6159500" cy="315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53886" y="914400"/>
            <a:ext cx="6781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2/3 of Gen X parents say they’re closer to their children than they were to their par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3000" y="5105400"/>
            <a:ext cx="6781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83% of Gen X parents consider their children to be their best friends</a:t>
            </a:r>
          </a:p>
        </p:txBody>
      </p:sp>
    </p:spTree>
    <p:extLst>
      <p:ext uri="{BB962C8B-B14F-4D97-AF65-F5344CB8AC3E}">
        <p14:creationId xmlns:p14="http://schemas.microsoft.com/office/powerpoint/2010/main" val="4069773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1566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663" y="1076325"/>
            <a:ext cx="6162675" cy="4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&quot;No&quot; Symbol 4"/>
          <p:cNvSpPr/>
          <p:nvPr/>
        </p:nvSpPr>
        <p:spPr>
          <a:xfrm>
            <a:off x="990600" y="685800"/>
            <a:ext cx="6781800" cy="5715000"/>
          </a:xfrm>
          <a:prstGeom prst="noSmoking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450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luences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71517417"/>
              </p:ext>
            </p:extLst>
          </p:nvPr>
        </p:nvGraphicFramePr>
        <p:xfrm>
          <a:off x="333375" y="10668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680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84D768C-1099-4B19-85E8-E07FFB48E03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41FBB1-2478-4739-839C-EDEEDEC73D5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F249201-93AF-4109-82A1-970985A8C2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D52AC02-2183-4790-B643-99F3ACBED5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BB6F06C-00FE-416B-B094-8D10562D268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5D91E1A-3D55-4737-B756-A5BEB933EC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E49468A-2E7A-44D2-B723-1122DD823ED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B499EC8-4602-4C18-9922-8B3EB3A2B2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Gen at Work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3545679"/>
              </p:ext>
            </p:extLst>
          </p:nvPr>
        </p:nvGraphicFramePr>
        <p:xfrm>
          <a:off x="333375" y="10668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705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B896BE0-316E-4C4E-8504-54B1E6F814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749D6C-1801-4956-8FA3-0B9EC45DBFA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F403D84-E5B7-450E-B6EA-5583611BAD7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150E72A-C0D8-4D1F-9F9A-FC138CF78F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42F73E-0DC2-42C6-AECE-BCA9A89992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DB512B6-DBD3-4FDD-9386-93DD39629E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CB20208-6D9A-4E03-8E33-7FF3AC29C1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Gen as learners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8</a:t>
            </a:fld>
            <a:endParaRPr lang="en-US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93198941"/>
              </p:ext>
            </p:extLst>
          </p:nvPr>
        </p:nvGraphicFramePr>
        <p:xfrm>
          <a:off x="333375" y="1066800"/>
          <a:ext cx="8353425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0636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80DE979-5D1E-41F5-A5AC-3D4AE5C71E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E19E756-5144-4047-88E2-6BD5C60235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F026A56-B79B-4F84-8944-93A69FB876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6FFC092-1B53-428A-9922-0EF7AAE5B0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9AA08E7-1EFF-45AA-8F1D-737ADC8EAD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60980D89-51B0-4B18-9985-015735A15D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fluence of gaming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9</a:t>
            </a:fld>
            <a:endParaRPr lang="en-US" dirty="0"/>
          </a:p>
        </p:txBody>
      </p:sp>
      <p:pic>
        <p:nvPicPr>
          <p:cNvPr id="159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524000"/>
            <a:ext cx="7936212" cy="4103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0232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force 2020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377367289"/>
              </p:ext>
            </p:extLst>
          </p:nvPr>
        </p:nvGraphicFramePr>
        <p:xfrm>
          <a:off x="1447800" y="1295400"/>
          <a:ext cx="6477000" cy="4495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A0ADF67-229D-4FEF-BD29-C0EC68C0F2C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8119E434-41DD-497F-A4D6-1F12D9A9E8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C4ECB02-0130-4E0F-9348-698D1481BF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F712EEA-E87B-4E6F-8963-30243DF4F82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AD39F8D-86B2-4C85-9B05-DE719E2FE5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2E97AA5-D5CD-4419-8B91-B4DE10C8267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Content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33375" y="1066800"/>
            <a:ext cx="1647825" cy="5334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160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267" y="1895474"/>
            <a:ext cx="4386233" cy="32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32510" y="838200"/>
            <a:ext cx="86789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Assignment:  Create a video that explains cell mitosis</a:t>
            </a:r>
          </a:p>
        </p:txBody>
      </p:sp>
    </p:spTree>
    <p:extLst>
      <p:ext uri="{BB962C8B-B14F-4D97-AF65-F5344CB8AC3E}">
        <p14:creationId xmlns:p14="http://schemas.microsoft.com/office/powerpoint/2010/main" val="333780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295400"/>
            <a:ext cx="7696200" cy="32004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8800" dirty="0" smtClean="0"/>
              <a:t>What does this mean for us? </a:t>
            </a:r>
            <a:endParaRPr lang="en-US" sz="8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667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3600" b="1" dirty="0" smtClean="0"/>
              <a:t>Thank-you</a:t>
            </a:r>
          </a:p>
          <a:p>
            <a:pPr marL="0" indent="0">
              <a:buNone/>
            </a:pPr>
            <a:r>
              <a:rPr lang="en-US" dirty="0" smtClean="0"/>
              <a:t>Laura Johannsen (Gen X)</a:t>
            </a: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Laura.johannsen@txdot.gov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737/529-2416</a:t>
            </a:r>
          </a:p>
          <a:p>
            <a:pPr marL="0" indent="0">
              <a:buNone/>
            </a:pPr>
            <a:r>
              <a:rPr lang="en-US" dirty="0" smtClean="0"/>
              <a:t>@laurajohanns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pic>
        <p:nvPicPr>
          <p:cNvPr id="161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399" y="1981200"/>
            <a:ext cx="5159227" cy="4216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420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5 Generations in the Workplace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2866667"/>
              </p:ext>
            </p:extLst>
          </p:nvPr>
        </p:nvGraphicFramePr>
        <p:xfrm>
          <a:off x="333375" y="10668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756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9801E1F-5C5D-45DE-A292-0031DB806D4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78834DA-108F-4024-AB6C-8FFC84C7C49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EF939E7-1922-4D7E-A7C6-E49F114414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1A0556F-B0CC-4F38-AB41-3450E5BA65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95908CE-B5AB-4FE1-ACD2-D40E20D0704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BD40C7E-AF0C-4C9C-9F18-8737F53CE4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6D03DD4-5E4E-4AFB-8F37-E609C47DC17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98C04F6-7CC8-4440-A5C0-00733E9609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ECE912D-0C45-4446-B10E-3159E83281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E820F00-729F-47CE-A081-ACA823C3F6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9B4359A-B79D-4168-B2F7-06FE181E5EF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Generation</a:t>
            </a:r>
            <a:r>
              <a:rPr lang="en-US" dirty="0" smtClean="0"/>
              <a:t> Vide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5486400"/>
            <a:ext cx="8477250" cy="609600"/>
          </a:xfrm>
        </p:spPr>
        <p:txBody>
          <a:bodyPr/>
          <a:lstStyle/>
          <a:p>
            <a:r>
              <a:rPr lang="en-US" dirty="0">
                <a:hlinkClick r:id="rId2"/>
              </a:rPr>
              <a:t>https://</a:t>
            </a:r>
            <a:r>
              <a:rPr lang="en-US" dirty="0" smtClean="0">
                <a:hlinkClick r:id="rId2"/>
              </a:rPr>
              <a:t>www.youtube.com/watch?v=nFaEPe6T_m4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762000"/>
            <a:ext cx="6158865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1100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934811"/>
            <a:ext cx="3333750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923925"/>
            <a:ext cx="3267075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1497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Gen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6</a:t>
            </a:fld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396629684"/>
              </p:ext>
            </p:extLst>
          </p:nvPr>
        </p:nvGraphicFramePr>
        <p:xfrm>
          <a:off x="457200" y="838200"/>
          <a:ext cx="83058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55300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112EFC8-5BA4-49F1-8BD9-DD70A56F5AE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0757762-7B88-4454-B949-689E8716519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C308C4B-B7A9-41DE-B31F-1505883BEFD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D7C01E7-A4DA-48D0-A071-28EB8DFB593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CE286B4B-4CF0-4C20-812C-C148A62490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on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  <p:pic>
        <p:nvPicPr>
          <p:cNvPr id="15360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9" t="13288" r="14634" b="2939"/>
          <a:stretch/>
        </p:blipFill>
        <p:spPr bwMode="auto">
          <a:xfrm>
            <a:off x="4800600" y="3430361"/>
            <a:ext cx="2959022" cy="2833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9313" y="778873"/>
            <a:ext cx="2714625" cy="263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0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798467"/>
            <a:ext cx="2790825" cy="272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06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914400"/>
            <a:ext cx="2523493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0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1786" y="3526971"/>
            <a:ext cx="2847975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53097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ownside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8</a:t>
            </a:fld>
            <a:endParaRPr lang="en-US" dirty="0"/>
          </a:p>
        </p:txBody>
      </p:sp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685800"/>
            <a:ext cx="6972300" cy="5531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1902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6270400"/>
              </p:ext>
            </p:extLst>
          </p:nvPr>
        </p:nvGraphicFramePr>
        <p:xfrm>
          <a:off x="333375" y="1066800"/>
          <a:ext cx="847725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46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1E25E53E-C907-4886-888C-BA83067D83C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E4814E1-9DDF-42B4-BBCF-2A47244420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9C04FDB-2A11-47DE-B0EB-A4453A1E1FA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WHITEback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37E061906B8D41B78466604C53C4AE" ma:contentTypeVersion="28" ma:contentTypeDescription="Create a new document." ma:contentTypeScope="" ma:versionID="b1fac3747e4839e2d4ffb6e4054a9b09">
  <xsd:schema xmlns:xsd="http://www.w3.org/2001/XMLSchema" xmlns:xs="http://www.w3.org/2001/XMLSchema" xmlns:p="http://schemas.microsoft.com/office/2006/metadata/properties" xmlns:ns2="1624d5a5-934e-431c-bdeb-2205adc15921" targetNamespace="http://schemas.microsoft.com/office/2006/metadata/properties" ma:root="true" ma:fieldsID="54ec43d53a1f88dddf6650d30005016a" ns2:_="">
    <xsd:import namespace="1624d5a5-934e-431c-bdeb-2205adc15921"/>
    <xsd:element name="properties">
      <xsd:complexType>
        <xsd:sequence>
          <xsd:element name="documentManagement">
            <xsd:complexType>
              <xsd:all>
                <xsd:element ref="ns2:DocumentCategory"/>
                <xsd:element ref="ns2:DocumentSummary"/>
                <xsd:element ref="ns2:DocumentPublishDate"/>
                <xsd:element ref="ns2:DIRDepartment" minOccurs="0"/>
                <xsd:element ref="ns2:RedirectURL" minOccurs="0"/>
                <xsd:element ref="ns2:SearchSummary" minOccurs="0"/>
                <xsd:element ref="ns2:DocumentSize" minOccurs="0"/>
                <xsd:element ref="ns2:DocumentExtension" minOccurs="0"/>
                <xsd:element ref="ns2:SearchKeywords" minOccurs="0"/>
                <xsd:element ref="ns2:TSLACSubject" minOccurs="0"/>
                <xsd:element ref="ns2:TSLACType"/>
                <xsd:element ref="ns2:TaxKeywordTaxHTField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4d5a5-934e-431c-bdeb-2205adc15921" elementFormDefault="qualified">
    <xsd:import namespace="http://schemas.microsoft.com/office/2006/documentManagement/types"/>
    <xsd:import namespace="http://schemas.microsoft.com/office/infopath/2007/PartnerControls"/>
    <xsd:element name="DocumentCategory" ma:index="1" ma:displayName="Document Category" ma:format="Dropdown" ma:internalName="DocumentCategory">
      <xsd:simpleType>
        <xsd:restriction base="dms:Choice">
          <xsd:enumeration value="Audit"/>
          <xsd:enumeration value="Board"/>
          <xsd:enumeration value="Event Materials"/>
          <xsd:enumeration value="Forms"/>
          <xsd:enumeration value="Guidelines"/>
          <xsd:enumeration value="Other"/>
          <xsd:enumeration value="Policies"/>
          <xsd:enumeration value="Reports"/>
          <xsd:enumeration value="Templates"/>
        </xsd:restriction>
      </xsd:simpleType>
    </xsd:element>
    <xsd:element name="DocumentSummary" ma:index="2" ma:displayName="Document Summary" ma:internalName="DocumentSummary">
      <xsd:simpleType>
        <xsd:restriction base="dms:Note">
          <xsd:maxLength value="255"/>
        </xsd:restriction>
      </xsd:simpleType>
    </xsd:element>
    <xsd:element name="DocumentPublishDate" ma:index="3" ma:displayName="Document Publish Date" ma:default="[today]" ma:format="DateOnly" ma:internalName="DocumentPublishDate">
      <xsd:simpleType>
        <xsd:restriction base="dms:DateTime"/>
      </xsd:simpleType>
    </xsd:element>
    <xsd:element name="DIRDepartment" ma:index="4" nillable="true" ma:displayName="DIR Department" ma:default="General" ma:format="Dropdown" ma:internalName="DIRDepartment">
      <xsd:simpleType>
        <xsd:restriction base="dms:Choice">
          <xsd:enumeration value="Contracts"/>
          <xsd:enumeration value="Data Center"/>
          <xsd:enumeration value="General"/>
          <xsd:enumeration value="Information Security"/>
          <xsd:enumeration value="Policy &amp; Planning"/>
          <xsd:enumeration value="Telecom"/>
          <xsd:enumeration value="Texas.Gov"/>
        </xsd:restriction>
      </xsd:simpleType>
    </xsd:element>
    <xsd:element name="RedirectURL" ma:index="5" nillable="true" ma:displayName="Redirect URL" ma:hidden="true" ma:internalName="RedirectURL" ma:readOnly="false">
      <xsd:simpleType>
        <xsd:restriction base="dms:Text">
          <xsd:maxLength value="255"/>
        </xsd:restriction>
      </xsd:simpleType>
    </xsd:element>
    <xsd:element name="SearchSummary" ma:index="6" nillable="true" ma:displayName="Search Summary" ma:hidden="true" ma:internalName="SearchSummary" ma:readOnly="false">
      <xsd:simpleType>
        <xsd:restriction base="dms:Note"/>
      </xsd:simpleType>
    </xsd:element>
    <xsd:element name="DocumentSize" ma:index="15" nillable="true" ma:displayName="Document Size" ma:hidden="true" ma:internalName="DocumentSize" ma:readOnly="false">
      <xsd:simpleType>
        <xsd:restriction base="dms:Text">
          <xsd:maxLength value="255"/>
        </xsd:restriction>
      </xsd:simpleType>
    </xsd:element>
    <xsd:element name="DocumentExtension" ma:index="16" nillable="true" ma:displayName="Document Extension" ma:hidden="true" ma:internalName="DocumentExtension" ma:readOnly="false">
      <xsd:simpleType>
        <xsd:restriction base="dms:Text">
          <xsd:maxLength value="255"/>
        </xsd:restriction>
      </xsd:simpleType>
    </xsd:element>
    <xsd:element name="SearchKeywords" ma:index="17" nillable="true" ma:displayName="Search Keywords" ma:internalName="SearchKeywords">
      <xsd:simpleType>
        <xsd:restriction base="dms:Text">
          <xsd:maxLength value="255"/>
        </xsd:restriction>
      </xsd:simpleType>
    </xsd:element>
    <xsd:element name="TSLACSubject" ma:index="18" nillable="true" ma:displayName="TSLAC Subject" ma:internalName="TSLACSubject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uditing Budget"/>
                    <xsd:enumeration value="Executive Departments"/>
                    <xsd:enumeration value="Government Information"/>
                    <xsd:enumeration value="Government Purchasing"/>
                    <xsd:enumeration value="State Governments"/>
                  </xsd:restriction>
                </xsd:simpleType>
              </xsd:element>
            </xsd:sequence>
          </xsd:extension>
        </xsd:complexContent>
      </xsd:complexType>
    </xsd:element>
    <xsd:element name="TSLACType" ma:index="19" ma:displayName="TSLAC Type" ma:format="Dropdown" ma:internalName="TSLACType">
      <xsd:simpleType>
        <xsd:restriction base="dms:Choice">
          <xsd:enumeration value="Agency Rules, Policies and Procedures"/>
          <xsd:enumeration value="Agency Search engines"/>
          <xsd:enumeration value="Agency staff contacts"/>
          <xsd:enumeration value="Databases"/>
          <xsd:enumeration value="Employment information"/>
          <xsd:enumeration value="Executive Orders"/>
          <xsd:enumeration value="External Fiscal Reports"/>
          <xsd:enumeration value="Forms and Form instructions"/>
          <xsd:enumeration value="Grants or Funding Opportunities"/>
          <xsd:enumeration value="Homepages"/>
          <xsd:enumeration value="Legal Opinions and Advice"/>
          <xsd:enumeration value="Legislation, Proposed Legislation, and Statutes"/>
          <xsd:enumeration value="Legislative Appropriations Requests"/>
          <xsd:enumeration value="Licenses and Licensing Information"/>
          <xsd:enumeration value="Mail and Telecommunication Listings"/>
          <xsd:enumeration value="Manuals and Instructions"/>
          <xsd:enumeration value="Maps"/>
          <xsd:enumeration value="Meeting Agendas"/>
          <xsd:enumeration value="Meeting Minutes"/>
          <xsd:enumeration value="Miscellaneous reports"/>
          <xsd:enumeration value="News or Press Releases"/>
          <xsd:enumeration value="Non-fiscal reports and studies"/>
          <xsd:enumeration value="Organization Charts"/>
          <xsd:enumeration value="Other publications"/>
          <xsd:enumeration value="Periodicals - Newsletters and Magazines"/>
          <xsd:enumeration value="Personnel Policies and Procedures"/>
          <xsd:enumeration value="Plans and Planning Information"/>
          <xsd:enumeration value="Programs and Services"/>
          <xsd:enumeration value="Reference materials"/>
          <xsd:enumeration value="Reports - Biennial or Annual"/>
          <xsd:enumeration value="Reports - Required Legislative"/>
          <xsd:enumeration value="Reports on Performance Measures"/>
          <xsd:enumeration value="Speeches and Papers"/>
          <xsd:enumeration value="Statistics"/>
          <xsd:enumeration value="Strategic Plans"/>
          <xsd:enumeration value="Training Materials"/>
          <xsd:enumeration value="Web documents - Undefined"/>
        </xsd:restriction>
      </xsd:simpleType>
    </xsd:element>
    <xsd:element name="TaxKeywordTaxHTField" ma:index="22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3" nillable="true" ma:displayName="Taxonomy Catch All Column" ma:hidden="true" ma:list="{17e8d30a-da91-4395-8dbc-c1e53e82d6c7}" ma:internalName="TaxCatchAll" ma:showField="CatchAllData" ma:web="1624d5a5-934e-431c-bdeb-2205adc159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ummary xmlns="1624d5a5-934e-431c-bdeb-2205adc15921">Training Expo (Calendar June 22). iGen Training Powerpoint</DocumentSummary>
    <TaxCatchAll xmlns="1624d5a5-934e-431c-bdeb-2205adc15921">
      <Value>244</Value>
      <Value>243</Value>
      <Value>99</Value>
      <Value>245</Value>
    </TaxCatchAll>
    <DocumentPublishDate xmlns="1624d5a5-934e-431c-bdeb-2205adc15921">2018-07-26T05:00:00+00:00</DocumentPublishDate>
    <DIRDepartment xmlns="1624d5a5-934e-431c-bdeb-2205adc15921">General</DIRDepartment>
    <SearchSummary xmlns="1624d5a5-934e-431c-bdeb-2205adc15921">Training Expo (Calendar June 22). iGen Training Powerpoint</SearchSummary>
    <DocumentExtension xmlns="1624d5a5-934e-431c-bdeb-2205adc15921">pptx</DocumentExtension>
    <DocumentCategory xmlns="1624d5a5-934e-431c-bdeb-2205adc15921">Event Materials</DocumentCategory>
    <RedirectURL xmlns="1624d5a5-934e-431c-bdeb-2205adc15921">/portal/internal/resources/DocumentLibrary/iGen_trng_expo_posted062218.pptx</RedirectURL>
    <TSLACSubject xmlns="1624d5a5-934e-431c-bdeb-2205adc15921">
      <Value>Executive Departments</Value>
      <Value>Government Information</Value>
      <Value>State Governments</Value>
    </TSLACSubject>
    <DocumentSize xmlns="1624d5a5-934e-431c-bdeb-2205adc15921">6551.785707984</DocumentSize>
    <TSLACType xmlns="1624d5a5-934e-431c-bdeb-2205adc15921">Other publications</TSLACType>
    <SearchKeywords xmlns="1624d5a5-934e-431c-bdeb-2205adc15921">training expo; event; calendar; presentation;</SearchKeywords>
    <TaxKeywordTaxHTField xmlns="1624d5a5-934e-431c-bdeb-2205adc15921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8b43db24-55e2-4e5d-87a6-64b345e7df70</TermId>
        </TermInfo>
        <TermInfo xmlns="http://schemas.microsoft.com/office/infopath/2007/PartnerControls">
          <TermName xmlns="http://schemas.microsoft.com/office/infopath/2007/PartnerControls">iGen</TermName>
          <TermId xmlns="http://schemas.microsoft.com/office/infopath/2007/PartnerControls">31331a90-cf13-4c53-80dc-4e529f73ae5c</TermId>
        </TermInfo>
        <TermInfo xmlns="http://schemas.microsoft.com/office/infopath/2007/PartnerControls">
          <TermName xmlns="http://schemas.microsoft.com/office/infopath/2007/PartnerControls">training</TermName>
          <TermId xmlns="http://schemas.microsoft.com/office/infopath/2007/PartnerControls">4d1b5214-220a-4d3a-9c07-d74f94724582</TermId>
        </TermInfo>
        <TermInfo xmlns="http://schemas.microsoft.com/office/infopath/2007/PartnerControls">
          <TermName xmlns="http://schemas.microsoft.com/office/infopath/2007/PartnerControls">expo</TermName>
          <TermId xmlns="http://schemas.microsoft.com/office/infopath/2007/PartnerControls">8427c1e4-cb8f-4d2a-b0b5-c3c6c5a3ff63</TermId>
        </TermInfo>
      </Terms>
    </TaxKeywordTaxHTField>
  </documentManagement>
</p:properties>
</file>

<file path=customXml/itemProps1.xml><?xml version="1.0" encoding="utf-8"?>
<ds:datastoreItem xmlns:ds="http://schemas.openxmlformats.org/officeDocument/2006/customXml" ds:itemID="{D4D9D519-2202-4E57-A191-1B388AD71081}"/>
</file>

<file path=customXml/itemProps2.xml><?xml version="1.0" encoding="utf-8"?>
<ds:datastoreItem xmlns:ds="http://schemas.openxmlformats.org/officeDocument/2006/customXml" ds:itemID="{4C6FC955-5ED4-49EE-9BB1-5447BBCB0FB1}"/>
</file>

<file path=customXml/itemProps3.xml><?xml version="1.0" encoding="utf-8"?>
<ds:datastoreItem xmlns:ds="http://schemas.openxmlformats.org/officeDocument/2006/customXml" ds:itemID="{2C71474D-3188-4788-94F4-8DC25362E82C}"/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WHITEback</Template>
  <TotalTime>1110</TotalTime>
  <Words>256</Words>
  <Application>Microsoft Office PowerPoint</Application>
  <PresentationFormat>On-screen Show (4:3)</PresentationFormat>
  <Paragraphs>113</Paragraphs>
  <Slides>22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MASTER_powerpoint_templateWHITEback</vt:lpstr>
      <vt:lpstr>think-cell Slide</vt:lpstr>
      <vt:lpstr>Workforce 2020 </vt:lpstr>
      <vt:lpstr>Workforce 2020</vt:lpstr>
      <vt:lpstr>5 Generations in the Workplace</vt:lpstr>
      <vt:lpstr>iGeneration Video</vt:lpstr>
      <vt:lpstr>PowerPoint Presentation</vt:lpstr>
      <vt:lpstr>iGen</vt:lpstr>
      <vt:lpstr>Communication </vt:lpstr>
      <vt:lpstr>The Downside</vt:lpstr>
      <vt:lpstr>PowerPoint Presentation</vt:lpstr>
      <vt:lpstr>A quick look at history</vt:lpstr>
      <vt:lpstr>PowerPoint Presentation</vt:lpstr>
      <vt:lpstr>A quick look at history</vt:lpstr>
      <vt:lpstr>Helicopter goes high tech</vt:lpstr>
      <vt:lpstr>Best Friends not Enforcers</vt:lpstr>
      <vt:lpstr>PowerPoint Presentation</vt:lpstr>
      <vt:lpstr>Influences</vt:lpstr>
      <vt:lpstr>iGen at Work</vt:lpstr>
      <vt:lpstr>iGen as learners </vt:lpstr>
      <vt:lpstr>The influence of gaming </vt:lpstr>
      <vt:lpstr>Creating Content</vt:lpstr>
      <vt:lpstr>Implications</vt:lpstr>
      <vt:lpstr>PowerPoint Presentation</vt:lpstr>
    </vt:vector>
  </TitlesOfParts>
  <Company>Texas Dept. of Transport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Gen_trng_expo_posted062218</dc:title>
  <dc:creator>Laura Johannsen</dc:creator>
  <cp:keywords>powerpoint; expo; training; iGen</cp:keywords>
  <cp:lastModifiedBy>Laura Johannsen</cp:lastModifiedBy>
  <cp:revision>59</cp:revision>
  <cp:lastPrinted>2013-02-21T15:21:56Z</cp:lastPrinted>
  <dcterms:created xsi:type="dcterms:W3CDTF">2018-06-21T18:44:34Z</dcterms:created>
  <dcterms:modified xsi:type="dcterms:W3CDTF">2018-07-26T15:1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37E061906B8D41B78466604C53C4AE</vt:lpwstr>
  </property>
  <property fmtid="{D5CDD505-2E9C-101B-9397-08002B2CF9AE}" pid="3" name="TaxKeyword">
    <vt:lpwstr>244;#powerpoint|8b43db24-55e2-4e5d-87a6-64b345e7df70;#243;#iGen|31331a90-cf13-4c53-80dc-4e529f73ae5c;#99;#training|4d1b5214-220a-4d3a-9c07-d74f94724582;#245;#expo|8427c1e4-cb8f-4d2a-b0b5-c3c6c5a3ff63</vt:lpwstr>
  </property>
  <property fmtid="{D5CDD505-2E9C-101B-9397-08002B2CF9AE}" pid="4" name="WorkflowChangePath">
    <vt:lpwstr>4e7f0d7b-af58-4d14-a711-25a4e8942f2a,4;4e7f0d7b-af58-4d14-a711-25a4e8942f2a,4;4e7f0d7b-af58-4d14-a711-25a4e8942f2a,4;4e7f0d7b-af58-4d14-a711-25a4e8942f2a,4;4e7f0d7b-af58-4d14-a711-25a4e8942f2a,4;4e7f0d7b-af58-4d14-a711-25a4e8942f2a,4;4e7f0d7b-af58-4d14-a711-25a4e8942f2a,4;4e7f0d7b-af58-4d14-a711-25a4e8942f2a,8;4e7f0d7b-af58-4d14-a711-25a4e8942f2a,8;4e7f0d7b-af58-4d14-a711-25a4e8942f2a,8;4e7f0d7b-af58-4d14-a711-25a4e8942f2a,8;4e7f0d7b-af58-4d14-a711-25a4e8942f2a,8;4e7f0d7b-af58-4d14-a711-25a4e8942f2a,8;4e7f0d7b-af58-4d14-a711-25a4e8942f2a,8;</vt:lpwstr>
  </property>
</Properties>
</file>